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1" r:id="rId3"/>
    <p:sldMasterId id="2147483677" r:id="rId4"/>
    <p:sldMasterId id="2147483689" r:id="rId5"/>
  </p:sldMasterIdLst>
  <p:notesMasterIdLst>
    <p:notesMasterId r:id="rId19"/>
  </p:notesMasterIdLst>
  <p:handoutMasterIdLst>
    <p:handoutMasterId r:id="rId20"/>
  </p:handoutMasterIdLst>
  <p:sldIdLst>
    <p:sldId id="607" r:id="rId6"/>
    <p:sldId id="631" r:id="rId7"/>
    <p:sldId id="632" r:id="rId8"/>
    <p:sldId id="630" r:id="rId9"/>
    <p:sldId id="628" r:id="rId10"/>
    <p:sldId id="629" r:id="rId11"/>
    <p:sldId id="620" r:id="rId12"/>
    <p:sldId id="621" r:id="rId13"/>
    <p:sldId id="625" r:id="rId14"/>
    <p:sldId id="614" r:id="rId15"/>
    <p:sldId id="635" r:id="rId16"/>
    <p:sldId id="634" r:id="rId17"/>
    <p:sldId id="610" r:id="rId18"/>
  </p:sldIdLst>
  <p:sldSz cx="9144000" cy="6858000" type="screen4x3"/>
  <p:notesSz cx="6669088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  <a:srgbClr val="0000FF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5" autoAdjust="0"/>
    <p:restoredTop sz="88372" autoAdjust="0"/>
  </p:normalViewPr>
  <p:slideViewPr>
    <p:cSldViewPr>
      <p:cViewPr varScale="1">
        <p:scale>
          <a:sx n="109" d="100"/>
          <a:sy n="109" d="100"/>
        </p:scale>
        <p:origin x="1536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61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093056969850795"/>
          <c:y val="2.7053734087614707E-2"/>
          <c:w val="0.78349749570480154"/>
          <c:h val="0.87555489003637343"/>
        </c:manualLayout>
      </c:layout>
      <c:lineChart>
        <c:grouping val="standard"/>
        <c:varyColors val="0"/>
        <c:ser>
          <c:idx val="0"/>
          <c:order val="1"/>
          <c:tx>
            <c:strRef>
              <c:f>Tabelle1!$B$1</c:f>
              <c:strCache>
                <c:ptCount val="1"/>
                <c:pt idx="0">
                  <c:v>Spotpreis in €/MWh</c:v>
                </c:pt>
              </c:strCache>
            </c:strRef>
          </c:tx>
          <c:spPr>
            <a:ln w="31750">
              <a:noFill/>
            </a:ln>
          </c:spPr>
          <c:marker>
            <c:symbol val="circle"/>
            <c:size val="2"/>
            <c:spPr>
              <a:solidFill>
                <a:srgbClr val="BE8DA5"/>
              </a:solidFill>
              <a:ln>
                <a:noFill/>
              </a:ln>
            </c:spPr>
          </c:marker>
          <c:trendline>
            <c:spPr>
              <a:ln w="31750">
                <a:solidFill>
                  <a:schemeClr val="accent1"/>
                </a:solidFill>
              </a:ln>
            </c:spPr>
            <c:trendlineType val="linear"/>
            <c:dispRSqr val="0"/>
            <c:dispEq val="0"/>
          </c:trendline>
          <c:cat>
            <c:numRef>
              <c:f>Tabelle1!$A$2:$A$8761</c:f>
              <c:numCache>
                <c:formatCode>General</c:formatCode>
                <c:ptCount val="8760"/>
              </c:numCache>
            </c:numRef>
          </c:cat>
          <c:val>
            <c:numRef>
              <c:f>Tabelle1!$B$2:$B$8761</c:f>
              <c:numCache>
                <c:formatCode>General</c:formatCode>
                <c:ptCount val="8760"/>
                <c:pt idx="0">
                  <c:v>21</c:v>
                </c:pt>
                <c:pt idx="1">
                  <c:v>10.74</c:v>
                </c:pt>
                <c:pt idx="2">
                  <c:v>12.22</c:v>
                </c:pt>
                <c:pt idx="3">
                  <c:v>27.04</c:v>
                </c:pt>
                <c:pt idx="4">
                  <c:v>-1.0000000000000005E-2</c:v>
                </c:pt>
                <c:pt idx="5">
                  <c:v>-9.0000000000000024E-2</c:v>
                </c:pt>
                <c:pt idx="6">
                  <c:v>13.79</c:v>
                </c:pt>
                <c:pt idx="7">
                  <c:v>-19.95</c:v>
                </c:pt>
                <c:pt idx="8">
                  <c:v>-8.73</c:v>
                </c:pt>
                <c:pt idx="9">
                  <c:v>25.24</c:v>
                </c:pt>
                <c:pt idx="10">
                  <c:v>-0.1</c:v>
                </c:pt>
                <c:pt idx="11">
                  <c:v>25.09</c:v>
                </c:pt>
                <c:pt idx="12">
                  <c:v>12.58</c:v>
                </c:pt>
                <c:pt idx="13">
                  <c:v>13.85000000000001</c:v>
                </c:pt>
                <c:pt idx="14">
                  <c:v>-19.979999999999986</c:v>
                </c:pt>
                <c:pt idx="15">
                  <c:v>25.23</c:v>
                </c:pt>
                <c:pt idx="16">
                  <c:v>12.7</c:v>
                </c:pt>
                <c:pt idx="17">
                  <c:v>26.97</c:v>
                </c:pt>
                <c:pt idx="18">
                  <c:v>11.41</c:v>
                </c:pt>
                <c:pt idx="19">
                  <c:v>13.01</c:v>
                </c:pt>
                <c:pt idx="20">
                  <c:v>-0.92</c:v>
                </c:pt>
                <c:pt idx="21">
                  <c:v>21.85</c:v>
                </c:pt>
                <c:pt idx="22">
                  <c:v>13.91</c:v>
                </c:pt>
                <c:pt idx="23">
                  <c:v>15.19</c:v>
                </c:pt>
                <c:pt idx="24">
                  <c:v>25.32</c:v>
                </c:pt>
                <c:pt idx="25">
                  <c:v>14.92</c:v>
                </c:pt>
                <c:pt idx="26">
                  <c:v>16.059999999999999</c:v>
                </c:pt>
                <c:pt idx="27">
                  <c:v>13.5</c:v>
                </c:pt>
                <c:pt idx="28">
                  <c:v>25.84</c:v>
                </c:pt>
                <c:pt idx="29">
                  <c:v>28.939999999999987</c:v>
                </c:pt>
                <c:pt idx="30">
                  <c:v>32.270000000000003</c:v>
                </c:pt>
                <c:pt idx="31">
                  <c:v>16.73</c:v>
                </c:pt>
                <c:pt idx="32">
                  <c:v>25.08</c:v>
                </c:pt>
                <c:pt idx="33">
                  <c:v>25.52</c:v>
                </c:pt>
                <c:pt idx="34">
                  <c:v>20.91</c:v>
                </c:pt>
                <c:pt idx="35">
                  <c:v>32.14</c:v>
                </c:pt>
                <c:pt idx="36">
                  <c:v>7.0000000000000021E-2</c:v>
                </c:pt>
                <c:pt idx="37">
                  <c:v>25.27</c:v>
                </c:pt>
                <c:pt idx="38">
                  <c:v>-23.06</c:v>
                </c:pt>
                <c:pt idx="39">
                  <c:v>-0.99</c:v>
                </c:pt>
                <c:pt idx="40">
                  <c:v>5.1499999999999995</c:v>
                </c:pt>
                <c:pt idx="41">
                  <c:v>23.99</c:v>
                </c:pt>
                <c:pt idx="42">
                  <c:v>25.91</c:v>
                </c:pt>
                <c:pt idx="43">
                  <c:v>27.07</c:v>
                </c:pt>
                <c:pt idx="44">
                  <c:v>-0.94000000000000061</c:v>
                </c:pt>
                <c:pt idx="45">
                  <c:v>16.57</c:v>
                </c:pt>
                <c:pt idx="46">
                  <c:v>25.419999999999987</c:v>
                </c:pt>
                <c:pt idx="47">
                  <c:v>12.36000000000001</c:v>
                </c:pt>
                <c:pt idx="48">
                  <c:v>-4.0000000000000022E-2</c:v>
                </c:pt>
                <c:pt idx="49">
                  <c:v>11.03</c:v>
                </c:pt>
                <c:pt idx="50">
                  <c:v>5.76</c:v>
                </c:pt>
                <c:pt idx="51">
                  <c:v>15.15</c:v>
                </c:pt>
                <c:pt idx="52">
                  <c:v>27.05</c:v>
                </c:pt>
                <c:pt idx="53">
                  <c:v>-0.77000000000000079</c:v>
                </c:pt>
                <c:pt idx="54">
                  <c:v>23.23</c:v>
                </c:pt>
                <c:pt idx="55">
                  <c:v>-9.0000000000000024E-2</c:v>
                </c:pt>
                <c:pt idx="56">
                  <c:v>27.29</c:v>
                </c:pt>
                <c:pt idx="57">
                  <c:v>26.7</c:v>
                </c:pt>
                <c:pt idx="58">
                  <c:v>10.81</c:v>
                </c:pt>
                <c:pt idx="59">
                  <c:v>22.39</c:v>
                </c:pt>
                <c:pt idx="60">
                  <c:v>32.92</c:v>
                </c:pt>
                <c:pt idx="61">
                  <c:v>-0.9</c:v>
                </c:pt>
                <c:pt idx="62">
                  <c:v>29.17</c:v>
                </c:pt>
                <c:pt idx="63">
                  <c:v>19.23</c:v>
                </c:pt>
                <c:pt idx="64">
                  <c:v>29.47</c:v>
                </c:pt>
                <c:pt idx="65">
                  <c:v>28.45</c:v>
                </c:pt>
                <c:pt idx="66">
                  <c:v>-0.96000000000000063</c:v>
                </c:pt>
                <c:pt idx="67">
                  <c:v>22.09</c:v>
                </c:pt>
                <c:pt idx="68">
                  <c:v>25.54</c:v>
                </c:pt>
                <c:pt idx="69">
                  <c:v>18.010000000000005</c:v>
                </c:pt>
                <c:pt idx="70">
                  <c:v>29.95</c:v>
                </c:pt>
                <c:pt idx="71">
                  <c:v>0.05</c:v>
                </c:pt>
                <c:pt idx="72">
                  <c:v>10.040000000000001</c:v>
                </c:pt>
                <c:pt idx="73">
                  <c:v>30.09</c:v>
                </c:pt>
                <c:pt idx="74">
                  <c:v>28.330000000000005</c:v>
                </c:pt>
                <c:pt idx="75">
                  <c:v>-0.97000000000000064</c:v>
                </c:pt>
                <c:pt idx="76">
                  <c:v>20.759999999999987</c:v>
                </c:pt>
                <c:pt idx="77">
                  <c:v>16.279999999999987</c:v>
                </c:pt>
                <c:pt idx="78">
                  <c:v>31.110000000000021</c:v>
                </c:pt>
                <c:pt idx="79">
                  <c:v>20.66</c:v>
                </c:pt>
                <c:pt idx="80">
                  <c:v>28.32</c:v>
                </c:pt>
                <c:pt idx="81">
                  <c:v>14.46</c:v>
                </c:pt>
                <c:pt idx="82">
                  <c:v>33.47</c:v>
                </c:pt>
                <c:pt idx="83">
                  <c:v>21.939999999999987</c:v>
                </c:pt>
                <c:pt idx="84">
                  <c:v>24.43</c:v>
                </c:pt>
                <c:pt idx="85">
                  <c:v>28.51</c:v>
                </c:pt>
                <c:pt idx="86">
                  <c:v>27.05</c:v>
                </c:pt>
                <c:pt idx="87">
                  <c:v>18.02</c:v>
                </c:pt>
                <c:pt idx="88">
                  <c:v>16.98999999999997</c:v>
                </c:pt>
                <c:pt idx="89">
                  <c:v>23.49</c:v>
                </c:pt>
                <c:pt idx="90">
                  <c:v>10.78</c:v>
                </c:pt>
                <c:pt idx="91">
                  <c:v>12.21</c:v>
                </c:pt>
                <c:pt idx="92">
                  <c:v>15.3</c:v>
                </c:pt>
                <c:pt idx="93">
                  <c:v>0</c:v>
                </c:pt>
                <c:pt idx="94">
                  <c:v>24.9</c:v>
                </c:pt>
                <c:pt idx="95">
                  <c:v>14.96</c:v>
                </c:pt>
                <c:pt idx="96">
                  <c:v>15.18</c:v>
                </c:pt>
                <c:pt idx="97">
                  <c:v>16.059999999999999</c:v>
                </c:pt>
                <c:pt idx="98">
                  <c:v>30.25</c:v>
                </c:pt>
                <c:pt idx="99">
                  <c:v>13.870000000000006</c:v>
                </c:pt>
                <c:pt idx="100">
                  <c:v>13.55</c:v>
                </c:pt>
                <c:pt idx="101">
                  <c:v>31.69</c:v>
                </c:pt>
                <c:pt idx="102">
                  <c:v>-15.33</c:v>
                </c:pt>
                <c:pt idx="103">
                  <c:v>29.99</c:v>
                </c:pt>
                <c:pt idx="104">
                  <c:v>7.73</c:v>
                </c:pt>
                <c:pt idx="105">
                  <c:v>-4.92</c:v>
                </c:pt>
                <c:pt idx="106">
                  <c:v>21.85</c:v>
                </c:pt>
                <c:pt idx="107">
                  <c:v>-0.9</c:v>
                </c:pt>
                <c:pt idx="108">
                  <c:v>36.800000000000004</c:v>
                </c:pt>
                <c:pt idx="109">
                  <c:v>16.010000000000005</c:v>
                </c:pt>
                <c:pt idx="110">
                  <c:v>16.04</c:v>
                </c:pt>
                <c:pt idx="111">
                  <c:v>25.19</c:v>
                </c:pt>
                <c:pt idx="112">
                  <c:v>14.83</c:v>
                </c:pt>
                <c:pt idx="113">
                  <c:v>25.21</c:v>
                </c:pt>
                <c:pt idx="114">
                  <c:v>15.83</c:v>
                </c:pt>
                <c:pt idx="115">
                  <c:v>15.11</c:v>
                </c:pt>
                <c:pt idx="116">
                  <c:v>30.41</c:v>
                </c:pt>
                <c:pt idx="117">
                  <c:v>30.23</c:v>
                </c:pt>
                <c:pt idx="118">
                  <c:v>20.07</c:v>
                </c:pt>
                <c:pt idx="119">
                  <c:v>29.41</c:v>
                </c:pt>
                <c:pt idx="120">
                  <c:v>-13.870000000000006</c:v>
                </c:pt>
                <c:pt idx="121">
                  <c:v>12.83</c:v>
                </c:pt>
                <c:pt idx="122">
                  <c:v>-20.07</c:v>
                </c:pt>
                <c:pt idx="123">
                  <c:v>-10.050000000000002</c:v>
                </c:pt>
                <c:pt idx="124">
                  <c:v>10.08</c:v>
                </c:pt>
                <c:pt idx="125">
                  <c:v>10.06</c:v>
                </c:pt>
                <c:pt idx="126">
                  <c:v>10.71</c:v>
                </c:pt>
                <c:pt idx="127">
                  <c:v>-6.8599999999999985</c:v>
                </c:pt>
                <c:pt idx="128">
                  <c:v>4.49</c:v>
                </c:pt>
                <c:pt idx="129">
                  <c:v>14.57</c:v>
                </c:pt>
                <c:pt idx="130">
                  <c:v>12.89</c:v>
                </c:pt>
                <c:pt idx="131">
                  <c:v>6.0000000000000032E-2</c:v>
                </c:pt>
                <c:pt idx="132">
                  <c:v>14.85000000000001</c:v>
                </c:pt>
                <c:pt idx="133">
                  <c:v>-12.27</c:v>
                </c:pt>
                <c:pt idx="134">
                  <c:v>7.8</c:v>
                </c:pt>
                <c:pt idx="135">
                  <c:v>20.38</c:v>
                </c:pt>
                <c:pt idx="136">
                  <c:v>15.04</c:v>
                </c:pt>
                <c:pt idx="137">
                  <c:v>13.07</c:v>
                </c:pt>
                <c:pt idx="138">
                  <c:v>15.84</c:v>
                </c:pt>
                <c:pt idx="139">
                  <c:v>16.97</c:v>
                </c:pt>
                <c:pt idx="140">
                  <c:v>-19.2</c:v>
                </c:pt>
                <c:pt idx="141">
                  <c:v>11.42</c:v>
                </c:pt>
                <c:pt idx="142">
                  <c:v>32.78</c:v>
                </c:pt>
                <c:pt idx="143">
                  <c:v>29.93</c:v>
                </c:pt>
                <c:pt idx="144">
                  <c:v>12.59</c:v>
                </c:pt>
                <c:pt idx="145">
                  <c:v>17.779999999999987</c:v>
                </c:pt>
                <c:pt idx="146">
                  <c:v>-4.0000000000000022E-2</c:v>
                </c:pt>
                <c:pt idx="147">
                  <c:v>8.98</c:v>
                </c:pt>
                <c:pt idx="148">
                  <c:v>9.91</c:v>
                </c:pt>
                <c:pt idx="149">
                  <c:v>16.47</c:v>
                </c:pt>
                <c:pt idx="150">
                  <c:v>-7.0000000000000021E-2</c:v>
                </c:pt>
                <c:pt idx="151">
                  <c:v>8.7100000000000009</c:v>
                </c:pt>
                <c:pt idx="152">
                  <c:v>29.330000000000005</c:v>
                </c:pt>
                <c:pt idx="153">
                  <c:v>6.24</c:v>
                </c:pt>
                <c:pt idx="154">
                  <c:v>28.979999999999986</c:v>
                </c:pt>
                <c:pt idx="155">
                  <c:v>29.39</c:v>
                </c:pt>
                <c:pt idx="156">
                  <c:v>17.110000000000021</c:v>
                </c:pt>
                <c:pt idx="157">
                  <c:v>10.66</c:v>
                </c:pt>
                <c:pt idx="158">
                  <c:v>20.79</c:v>
                </c:pt>
                <c:pt idx="159">
                  <c:v>14.15</c:v>
                </c:pt>
                <c:pt idx="160">
                  <c:v>-2.4899999999999998</c:v>
                </c:pt>
                <c:pt idx="161">
                  <c:v>29.49</c:v>
                </c:pt>
                <c:pt idx="162">
                  <c:v>11.870000000000006</c:v>
                </c:pt>
                <c:pt idx="163">
                  <c:v>13.51</c:v>
                </c:pt>
                <c:pt idx="164">
                  <c:v>30.07</c:v>
                </c:pt>
                <c:pt idx="165">
                  <c:v>10.32</c:v>
                </c:pt>
                <c:pt idx="166">
                  <c:v>-6.2700000000000014</c:v>
                </c:pt>
                <c:pt idx="167">
                  <c:v>9.5</c:v>
                </c:pt>
                <c:pt idx="168">
                  <c:v>32.39</c:v>
                </c:pt>
                <c:pt idx="169">
                  <c:v>11.34</c:v>
                </c:pt>
                <c:pt idx="170">
                  <c:v>13.19</c:v>
                </c:pt>
                <c:pt idx="171">
                  <c:v>17.09</c:v>
                </c:pt>
                <c:pt idx="172">
                  <c:v>-8.0000000000000043E-2</c:v>
                </c:pt>
                <c:pt idx="173">
                  <c:v>10.220000000000001</c:v>
                </c:pt>
                <c:pt idx="174">
                  <c:v>24.919999999999987</c:v>
                </c:pt>
                <c:pt idx="175">
                  <c:v>11.6</c:v>
                </c:pt>
                <c:pt idx="176">
                  <c:v>-9.0000000000000024E-2</c:v>
                </c:pt>
                <c:pt idx="177">
                  <c:v>20.939999999999987</c:v>
                </c:pt>
                <c:pt idx="178">
                  <c:v>35.630000000000003</c:v>
                </c:pt>
                <c:pt idx="179">
                  <c:v>14.88</c:v>
                </c:pt>
                <c:pt idx="180">
                  <c:v>11.44</c:v>
                </c:pt>
                <c:pt idx="181">
                  <c:v>17.22</c:v>
                </c:pt>
                <c:pt idx="182">
                  <c:v>17.16</c:v>
                </c:pt>
                <c:pt idx="183">
                  <c:v>17.04</c:v>
                </c:pt>
                <c:pt idx="184">
                  <c:v>10.4</c:v>
                </c:pt>
                <c:pt idx="185">
                  <c:v>15.27</c:v>
                </c:pt>
                <c:pt idx="186">
                  <c:v>23.759999999999987</c:v>
                </c:pt>
                <c:pt idx="187">
                  <c:v>32.18</c:v>
                </c:pt>
                <c:pt idx="188">
                  <c:v>-1.8</c:v>
                </c:pt>
                <c:pt idx="189">
                  <c:v>8.94</c:v>
                </c:pt>
                <c:pt idx="190">
                  <c:v>15.870000000000006</c:v>
                </c:pt>
                <c:pt idx="191">
                  <c:v>31.97</c:v>
                </c:pt>
                <c:pt idx="192">
                  <c:v>10.58</c:v>
                </c:pt>
                <c:pt idx="193">
                  <c:v>10.39</c:v>
                </c:pt>
                <c:pt idx="194">
                  <c:v>24.95</c:v>
                </c:pt>
                <c:pt idx="195">
                  <c:v>20</c:v>
                </c:pt>
                <c:pt idx="196">
                  <c:v>34.24</c:v>
                </c:pt>
                <c:pt idx="197">
                  <c:v>20.759999999999987</c:v>
                </c:pt>
                <c:pt idx="198">
                  <c:v>15.77</c:v>
                </c:pt>
                <c:pt idx="199">
                  <c:v>18.979999999999986</c:v>
                </c:pt>
                <c:pt idx="200">
                  <c:v>5.6099999999999985</c:v>
                </c:pt>
                <c:pt idx="201">
                  <c:v>12.66</c:v>
                </c:pt>
                <c:pt idx="202">
                  <c:v>0.61000000000000065</c:v>
                </c:pt>
                <c:pt idx="203">
                  <c:v>18.87</c:v>
                </c:pt>
                <c:pt idx="204">
                  <c:v>7.0000000000000021E-2</c:v>
                </c:pt>
                <c:pt idx="205">
                  <c:v>-7.5</c:v>
                </c:pt>
                <c:pt idx="206">
                  <c:v>9.3700000000000028</c:v>
                </c:pt>
                <c:pt idx="207">
                  <c:v>28.99</c:v>
                </c:pt>
                <c:pt idx="208">
                  <c:v>14.950000000000006</c:v>
                </c:pt>
                <c:pt idx="209">
                  <c:v>26.1</c:v>
                </c:pt>
                <c:pt idx="210">
                  <c:v>10.64</c:v>
                </c:pt>
                <c:pt idx="211">
                  <c:v>20.36</c:v>
                </c:pt>
                <c:pt idx="212">
                  <c:v>29</c:v>
                </c:pt>
                <c:pt idx="213">
                  <c:v>9.9600000000000026</c:v>
                </c:pt>
                <c:pt idx="214">
                  <c:v>9.25</c:v>
                </c:pt>
                <c:pt idx="215">
                  <c:v>11.35000000000001</c:v>
                </c:pt>
                <c:pt idx="216">
                  <c:v>15</c:v>
                </c:pt>
                <c:pt idx="217">
                  <c:v>12.02</c:v>
                </c:pt>
                <c:pt idx="218">
                  <c:v>29.59</c:v>
                </c:pt>
                <c:pt idx="219">
                  <c:v>14.25</c:v>
                </c:pt>
                <c:pt idx="220">
                  <c:v>4.4700000000000024</c:v>
                </c:pt>
                <c:pt idx="221">
                  <c:v>24.27</c:v>
                </c:pt>
                <c:pt idx="222">
                  <c:v>12.57</c:v>
                </c:pt>
                <c:pt idx="223">
                  <c:v>10.62</c:v>
                </c:pt>
                <c:pt idx="224">
                  <c:v>10.92</c:v>
                </c:pt>
                <c:pt idx="225">
                  <c:v>27.610000000000021</c:v>
                </c:pt>
                <c:pt idx="226">
                  <c:v>12.82</c:v>
                </c:pt>
                <c:pt idx="227">
                  <c:v>13.44</c:v>
                </c:pt>
                <c:pt idx="228">
                  <c:v>10.63</c:v>
                </c:pt>
                <c:pt idx="229">
                  <c:v>33.42</c:v>
                </c:pt>
                <c:pt idx="230">
                  <c:v>25.89</c:v>
                </c:pt>
                <c:pt idx="231">
                  <c:v>6.87</c:v>
                </c:pt>
                <c:pt idx="232">
                  <c:v>13.05</c:v>
                </c:pt>
                <c:pt idx="233">
                  <c:v>36.340000000000003</c:v>
                </c:pt>
                <c:pt idx="234">
                  <c:v>25.99</c:v>
                </c:pt>
                <c:pt idx="235">
                  <c:v>11.950000000000006</c:v>
                </c:pt>
                <c:pt idx="236">
                  <c:v>0.83000000000000063</c:v>
                </c:pt>
                <c:pt idx="237">
                  <c:v>9.6300000000000008</c:v>
                </c:pt>
                <c:pt idx="238">
                  <c:v>30.41</c:v>
                </c:pt>
                <c:pt idx="239">
                  <c:v>1.78</c:v>
                </c:pt>
                <c:pt idx="240">
                  <c:v>16.39</c:v>
                </c:pt>
                <c:pt idx="241">
                  <c:v>29.95</c:v>
                </c:pt>
                <c:pt idx="242">
                  <c:v>34.410000000000004</c:v>
                </c:pt>
                <c:pt idx="243">
                  <c:v>27.09</c:v>
                </c:pt>
                <c:pt idx="244">
                  <c:v>12.09</c:v>
                </c:pt>
                <c:pt idx="245">
                  <c:v>28.25</c:v>
                </c:pt>
                <c:pt idx="246">
                  <c:v>15.82</c:v>
                </c:pt>
                <c:pt idx="247">
                  <c:v>26.45</c:v>
                </c:pt>
                <c:pt idx="248">
                  <c:v>31.69</c:v>
                </c:pt>
                <c:pt idx="249">
                  <c:v>8.0000000000000043E-2</c:v>
                </c:pt>
                <c:pt idx="250">
                  <c:v>33.47</c:v>
                </c:pt>
                <c:pt idx="251">
                  <c:v>10.06</c:v>
                </c:pt>
                <c:pt idx="252">
                  <c:v>8.49</c:v>
                </c:pt>
                <c:pt idx="253">
                  <c:v>9.34</c:v>
                </c:pt>
                <c:pt idx="254">
                  <c:v>28.62</c:v>
                </c:pt>
                <c:pt idx="255">
                  <c:v>30.03</c:v>
                </c:pt>
                <c:pt idx="256">
                  <c:v>25.279999999999987</c:v>
                </c:pt>
                <c:pt idx="257">
                  <c:v>10.54</c:v>
                </c:pt>
                <c:pt idx="258">
                  <c:v>15.55</c:v>
                </c:pt>
                <c:pt idx="259">
                  <c:v>20.079999999999988</c:v>
                </c:pt>
                <c:pt idx="260">
                  <c:v>15.82</c:v>
                </c:pt>
                <c:pt idx="261">
                  <c:v>29.45</c:v>
                </c:pt>
                <c:pt idx="262">
                  <c:v>16.41</c:v>
                </c:pt>
                <c:pt idx="263">
                  <c:v>1.53</c:v>
                </c:pt>
                <c:pt idx="264">
                  <c:v>27</c:v>
                </c:pt>
                <c:pt idx="265">
                  <c:v>27.979999999999986</c:v>
                </c:pt>
                <c:pt idx="266">
                  <c:v>29.38</c:v>
                </c:pt>
                <c:pt idx="267">
                  <c:v>14.05</c:v>
                </c:pt>
                <c:pt idx="268">
                  <c:v>26.9</c:v>
                </c:pt>
                <c:pt idx="269">
                  <c:v>16.53</c:v>
                </c:pt>
                <c:pt idx="270">
                  <c:v>12.57</c:v>
                </c:pt>
                <c:pt idx="271">
                  <c:v>9.0000000000000024E-2</c:v>
                </c:pt>
                <c:pt idx="272">
                  <c:v>41.6</c:v>
                </c:pt>
                <c:pt idx="273">
                  <c:v>-6.8599999999999985</c:v>
                </c:pt>
                <c:pt idx="274">
                  <c:v>25.63000000000002</c:v>
                </c:pt>
                <c:pt idx="275">
                  <c:v>9.31</c:v>
                </c:pt>
                <c:pt idx="276">
                  <c:v>11.83</c:v>
                </c:pt>
                <c:pt idx="277">
                  <c:v>-13.48</c:v>
                </c:pt>
                <c:pt idx="278">
                  <c:v>10.33</c:v>
                </c:pt>
                <c:pt idx="279">
                  <c:v>25.919999999999987</c:v>
                </c:pt>
                <c:pt idx="280">
                  <c:v>16.439999999999987</c:v>
                </c:pt>
                <c:pt idx="281">
                  <c:v>31.01</c:v>
                </c:pt>
                <c:pt idx="282">
                  <c:v>3.04</c:v>
                </c:pt>
                <c:pt idx="283">
                  <c:v>32.950000000000003</c:v>
                </c:pt>
                <c:pt idx="284">
                  <c:v>33.93</c:v>
                </c:pt>
                <c:pt idx="285">
                  <c:v>4.04</c:v>
                </c:pt>
                <c:pt idx="286">
                  <c:v>41.5</c:v>
                </c:pt>
                <c:pt idx="287">
                  <c:v>24.69</c:v>
                </c:pt>
                <c:pt idx="288">
                  <c:v>25.85</c:v>
                </c:pt>
                <c:pt idx="289">
                  <c:v>34.74</c:v>
                </c:pt>
                <c:pt idx="290">
                  <c:v>16.079999999999988</c:v>
                </c:pt>
                <c:pt idx="291">
                  <c:v>10.55</c:v>
                </c:pt>
                <c:pt idx="292">
                  <c:v>10.050000000000002</c:v>
                </c:pt>
                <c:pt idx="293">
                  <c:v>7.68</c:v>
                </c:pt>
                <c:pt idx="294">
                  <c:v>28.93</c:v>
                </c:pt>
                <c:pt idx="295">
                  <c:v>27.95</c:v>
                </c:pt>
                <c:pt idx="296">
                  <c:v>17.279999999999987</c:v>
                </c:pt>
                <c:pt idx="297">
                  <c:v>15</c:v>
                </c:pt>
                <c:pt idx="298">
                  <c:v>14.56</c:v>
                </c:pt>
                <c:pt idx="299">
                  <c:v>7.9300000000000024</c:v>
                </c:pt>
                <c:pt idx="300">
                  <c:v>0.05</c:v>
                </c:pt>
                <c:pt idx="301">
                  <c:v>29.03</c:v>
                </c:pt>
                <c:pt idx="302">
                  <c:v>16.420000000000002</c:v>
                </c:pt>
                <c:pt idx="303">
                  <c:v>28.459999999999987</c:v>
                </c:pt>
                <c:pt idx="304">
                  <c:v>11.36000000000001</c:v>
                </c:pt>
                <c:pt idx="305">
                  <c:v>30.06</c:v>
                </c:pt>
                <c:pt idx="306">
                  <c:v>-46.97</c:v>
                </c:pt>
                <c:pt idx="307">
                  <c:v>16.71</c:v>
                </c:pt>
                <c:pt idx="308">
                  <c:v>28.01</c:v>
                </c:pt>
                <c:pt idx="309">
                  <c:v>11.51</c:v>
                </c:pt>
                <c:pt idx="310">
                  <c:v>17.399999999999999</c:v>
                </c:pt>
                <c:pt idx="311">
                  <c:v>36.33</c:v>
                </c:pt>
                <c:pt idx="312">
                  <c:v>28.15000000000002</c:v>
                </c:pt>
                <c:pt idx="313">
                  <c:v>32.07</c:v>
                </c:pt>
                <c:pt idx="314">
                  <c:v>32.01</c:v>
                </c:pt>
                <c:pt idx="315">
                  <c:v>28.279999999999987</c:v>
                </c:pt>
                <c:pt idx="316">
                  <c:v>31</c:v>
                </c:pt>
                <c:pt idx="317">
                  <c:v>30.7</c:v>
                </c:pt>
                <c:pt idx="318">
                  <c:v>25.47</c:v>
                </c:pt>
                <c:pt idx="319">
                  <c:v>15.08</c:v>
                </c:pt>
                <c:pt idx="320">
                  <c:v>14.52</c:v>
                </c:pt>
                <c:pt idx="321">
                  <c:v>23.330000000000005</c:v>
                </c:pt>
                <c:pt idx="322">
                  <c:v>-10.1</c:v>
                </c:pt>
                <c:pt idx="323">
                  <c:v>11.93</c:v>
                </c:pt>
                <c:pt idx="324">
                  <c:v>27.02</c:v>
                </c:pt>
                <c:pt idx="325">
                  <c:v>26.68</c:v>
                </c:pt>
                <c:pt idx="326">
                  <c:v>29.419999999999987</c:v>
                </c:pt>
                <c:pt idx="327">
                  <c:v>10.57</c:v>
                </c:pt>
                <c:pt idx="328">
                  <c:v>31.05</c:v>
                </c:pt>
                <c:pt idx="329">
                  <c:v>29.09</c:v>
                </c:pt>
                <c:pt idx="330">
                  <c:v>24.51</c:v>
                </c:pt>
                <c:pt idx="331">
                  <c:v>17.32</c:v>
                </c:pt>
                <c:pt idx="332">
                  <c:v>7.84</c:v>
                </c:pt>
                <c:pt idx="333">
                  <c:v>32.28</c:v>
                </c:pt>
                <c:pt idx="334">
                  <c:v>24.09</c:v>
                </c:pt>
                <c:pt idx="335">
                  <c:v>14.26</c:v>
                </c:pt>
                <c:pt idx="336">
                  <c:v>24.03</c:v>
                </c:pt>
                <c:pt idx="337">
                  <c:v>-13.38</c:v>
                </c:pt>
                <c:pt idx="338">
                  <c:v>25.97</c:v>
                </c:pt>
                <c:pt idx="339">
                  <c:v>31.64</c:v>
                </c:pt>
                <c:pt idx="340">
                  <c:v>19.649999999999999</c:v>
                </c:pt>
                <c:pt idx="341">
                  <c:v>14.64</c:v>
                </c:pt>
                <c:pt idx="342">
                  <c:v>17.459999999999987</c:v>
                </c:pt>
                <c:pt idx="343">
                  <c:v>29.59</c:v>
                </c:pt>
                <c:pt idx="344">
                  <c:v>9.2900000000000009</c:v>
                </c:pt>
                <c:pt idx="345">
                  <c:v>27.68</c:v>
                </c:pt>
                <c:pt idx="346">
                  <c:v>15.42</c:v>
                </c:pt>
                <c:pt idx="347">
                  <c:v>17.03</c:v>
                </c:pt>
                <c:pt idx="348">
                  <c:v>15.41</c:v>
                </c:pt>
                <c:pt idx="349">
                  <c:v>17.09</c:v>
                </c:pt>
                <c:pt idx="350">
                  <c:v>-8.1</c:v>
                </c:pt>
                <c:pt idx="351">
                  <c:v>7.1899999999999995</c:v>
                </c:pt>
                <c:pt idx="352">
                  <c:v>16.170000000000005</c:v>
                </c:pt>
                <c:pt idx="353">
                  <c:v>44.92</c:v>
                </c:pt>
                <c:pt idx="354">
                  <c:v>29.97</c:v>
                </c:pt>
                <c:pt idx="355">
                  <c:v>-16.939999999999987</c:v>
                </c:pt>
                <c:pt idx="356">
                  <c:v>42.43</c:v>
                </c:pt>
                <c:pt idx="357">
                  <c:v>20.22</c:v>
                </c:pt>
                <c:pt idx="358">
                  <c:v>23.91</c:v>
                </c:pt>
                <c:pt idx="359">
                  <c:v>31</c:v>
                </c:pt>
                <c:pt idx="360">
                  <c:v>-13.42</c:v>
                </c:pt>
                <c:pt idx="361">
                  <c:v>23.259999999999987</c:v>
                </c:pt>
                <c:pt idx="362">
                  <c:v>-41.74</c:v>
                </c:pt>
                <c:pt idx="363">
                  <c:v>28.99</c:v>
                </c:pt>
                <c:pt idx="364">
                  <c:v>29.09</c:v>
                </c:pt>
                <c:pt idx="365">
                  <c:v>21.65000000000002</c:v>
                </c:pt>
                <c:pt idx="366">
                  <c:v>21.69</c:v>
                </c:pt>
                <c:pt idx="367">
                  <c:v>27.09</c:v>
                </c:pt>
                <c:pt idx="368">
                  <c:v>30.75</c:v>
                </c:pt>
                <c:pt idx="369">
                  <c:v>29.18</c:v>
                </c:pt>
                <c:pt idx="370">
                  <c:v>15.76</c:v>
                </c:pt>
                <c:pt idx="371">
                  <c:v>31.08</c:v>
                </c:pt>
                <c:pt idx="372">
                  <c:v>28.88</c:v>
                </c:pt>
                <c:pt idx="373">
                  <c:v>17.55</c:v>
                </c:pt>
                <c:pt idx="374">
                  <c:v>14.7</c:v>
                </c:pt>
                <c:pt idx="375">
                  <c:v>7.34</c:v>
                </c:pt>
                <c:pt idx="376">
                  <c:v>30.03</c:v>
                </c:pt>
                <c:pt idx="377">
                  <c:v>24.64</c:v>
                </c:pt>
                <c:pt idx="378">
                  <c:v>28.79</c:v>
                </c:pt>
                <c:pt idx="379">
                  <c:v>19.54</c:v>
                </c:pt>
                <c:pt idx="380">
                  <c:v>-31.41</c:v>
                </c:pt>
                <c:pt idx="381">
                  <c:v>18.05</c:v>
                </c:pt>
                <c:pt idx="382">
                  <c:v>25.959999999999987</c:v>
                </c:pt>
                <c:pt idx="383">
                  <c:v>3.0000000000000002E-2</c:v>
                </c:pt>
                <c:pt idx="384">
                  <c:v>14.91</c:v>
                </c:pt>
                <c:pt idx="385">
                  <c:v>30.110000000000021</c:v>
                </c:pt>
                <c:pt idx="386">
                  <c:v>18.72</c:v>
                </c:pt>
                <c:pt idx="387">
                  <c:v>6.53</c:v>
                </c:pt>
                <c:pt idx="388">
                  <c:v>31</c:v>
                </c:pt>
                <c:pt idx="389">
                  <c:v>15.06</c:v>
                </c:pt>
                <c:pt idx="390">
                  <c:v>30.09</c:v>
                </c:pt>
                <c:pt idx="391">
                  <c:v>15.97</c:v>
                </c:pt>
                <c:pt idx="392">
                  <c:v>15.77</c:v>
                </c:pt>
                <c:pt idx="393">
                  <c:v>20.52</c:v>
                </c:pt>
                <c:pt idx="394">
                  <c:v>30.49</c:v>
                </c:pt>
                <c:pt idx="395">
                  <c:v>12.950000000000006</c:v>
                </c:pt>
                <c:pt idx="396">
                  <c:v>28.73</c:v>
                </c:pt>
                <c:pt idx="397">
                  <c:v>8.08</c:v>
                </c:pt>
                <c:pt idx="398">
                  <c:v>11.81</c:v>
                </c:pt>
                <c:pt idx="399">
                  <c:v>26.59</c:v>
                </c:pt>
                <c:pt idx="400">
                  <c:v>24.95</c:v>
                </c:pt>
                <c:pt idx="401">
                  <c:v>-1.07</c:v>
                </c:pt>
                <c:pt idx="402">
                  <c:v>26.18</c:v>
                </c:pt>
                <c:pt idx="403">
                  <c:v>16.09</c:v>
                </c:pt>
                <c:pt idx="404">
                  <c:v>26.69</c:v>
                </c:pt>
                <c:pt idx="405">
                  <c:v>30.9</c:v>
                </c:pt>
                <c:pt idx="406">
                  <c:v>28.32</c:v>
                </c:pt>
                <c:pt idx="407">
                  <c:v>14.66</c:v>
                </c:pt>
                <c:pt idx="408">
                  <c:v>29.07</c:v>
                </c:pt>
                <c:pt idx="409">
                  <c:v>44.95</c:v>
                </c:pt>
                <c:pt idx="410">
                  <c:v>24.01</c:v>
                </c:pt>
                <c:pt idx="411">
                  <c:v>5.0599999999999996</c:v>
                </c:pt>
                <c:pt idx="412">
                  <c:v>25.06</c:v>
                </c:pt>
                <c:pt idx="413">
                  <c:v>25.1</c:v>
                </c:pt>
                <c:pt idx="414">
                  <c:v>23.17</c:v>
                </c:pt>
                <c:pt idx="415">
                  <c:v>12.51</c:v>
                </c:pt>
                <c:pt idx="416">
                  <c:v>5.08</c:v>
                </c:pt>
                <c:pt idx="417">
                  <c:v>22.43</c:v>
                </c:pt>
                <c:pt idx="418">
                  <c:v>-25.02</c:v>
                </c:pt>
                <c:pt idx="419">
                  <c:v>14.7</c:v>
                </c:pt>
                <c:pt idx="420">
                  <c:v>32.550000000000004</c:v>
                </c:pt>
                <c:pt idx="421">
                  <c:v>16.98999999999997</c:v>
                </c:pt>
                <c:pt idx="422">
                  <c:v>32.67</c:v>
                </c:pt>
                <c:pt idx="423">
                  <c:v>32.93</c:v>
                </c:pt>
                <c:pt idx="424">
                  <c:v>16.959999999999987</c:v>
                </c:pt>
                <c:pt idx="425">
                  <c:v>34.21</c:v>
                </c:pt>
                <c:pt idx="426">
                  <c:v>-16.059999999999999</c:v>
                </c:pt>
                <c:pt idx="427">
                  <c:v>24.08</c:v>
                </c:pt>
                <c:pt idx="428">
                  <c:v>29.55</c:v>
                </c:pt>
                <c:pt idx="429">
                  <c:v>18</c:v>
                </c:pt>
                <c:pt idx="430">
                  <c:v>-9.0000000000000024E-2</c:v>
                </c:pt>
                <c:pt idx="431">
                  <c:v>34.790000000000013</c:v>
                </c:pt>
                <c:pt idx="432">
                  <c:v>16.03</c:v>
                </c:pt>
                <c:pt idx="433">
                  <c:v>26.53</c:v>
                </c:pt>
                <c:pt idx="434">
                  <c:v>0.9</c:v>
                </c:pt>
                <c:pt idx="435">
                  <c:v>32.450000000000003</c:v>
                </c:pt>
                <c:pt idx="436">
                  <c:v>10.33</c:v>
                </c:pt>
                <c:pt idx="437">
                  <c:v>31.08</c:v>
                </c:pt>
                <c:pt idx="438">
                  <c:v>23.77</c:v>
                </c:pt>
                <c:pt idx="439">
                  <c:v>19.079999999999988</c:v>
                </c:pt>
                <c:pt idx="440">
                  <c:v>22.09</c:v>
                </c:pt>
                <c:pt idx="441">
                  <c:v>10.18</c:v>
                </c:pt>
                <c:pt idx="442">
                  <c:v>10.4</c:v>
                </c:pt>
                <c:pt idx="443">
                  <c:v>28.21</c:v>
                </c:pt>
                <c:pt idx="444">
                  <c:v>28.47</c:v>
                </c:pt>
                <c:pt idx="445">
                  <c:v>20.170000000000005</c:v>
                </c:pt>
                <c:pt idx="446">
                  <c:v>-4.78</c:v>
                </c:pt>
                <c:pt idx="447">
                  <c:v>-0.33000000000000046</c:v>
                </c:pt>
                <c:pt idx="448">
                  <c:v>17.41</c:v>
                </c:pt>
                <c:pt idx="449">
                  <c:v>20.39</c:v>
                </c:pt>
                <c:pt idx="450">
                  <c:v>-19.37</c:v>
                </c:pt>
                <c:pt idx="451">
                  <c:v>22.05</c:v>
                </c:pt>
                <c:pt idx="452">
                  <c:v>0.05</c:v>
                </c:pt>
                <c:pt idx="453">
                  <c:v>12.24</c:v>
                </c:pt>
                <c:pt idx="454">
                  <c:v>23.02</c:v>
                </c:pt>
                <c:pt idx="455">
                  <c:v>12.22</c:v>
                </c:pt>
                <c:pt idx="456">
                  <c:v>17.610000000000021</c:v>
                </c:pt>
                <c:pt idx="457">
                  <c:v>26.31000000000002</c:v>
                </c:pt>
                <c:pt idx="458">
                  <c:v>14.93</c:v>
                </c:pt>
                <c:pt idx="459">
                  <c:v>26.07</c:v>
                </c:pt>
                <c:pt idx="460">
                  <c:v>10.57</c:v>
                </c:pt>
                <c:pt idx="461">
                  <c:v>22.72</c:v>
                </c:pt>
                <c:pt idx="462">
                  <c:v>38.220000000000013</c:v>
                </c:pt>
                <c:pt idx="463">
                  <c:v>27.03</c:v>
                </c:pt>
                <c:pt idx="464">
                  <c:v>34.17</c:v>
                </c:pt>
                <c:pt idx="465">
                  <c:v>20.03</c:v>
                </c:pt>
                <c:pt idx="466">
                  <c:v>15.950000000000006</c:v>
                </c:pt>
                <c:pt idx="467">
                  <c:v>29.37</c:v>
                </c:pt>
                <c:pt idx="468">
                  <c:v>8.5</c:v>
                </c:pt>
                <c:pt idx="469">
                  <c:v>30.05</c:v>
                </c:pt>
                <c:pt idx="470">
                  <c:v>23.74</c:v>
                </c:pt>
                <c:pt idx="471">
                  <c:v>-2.06</c:v>
                </c:pt>
                <c:pt idx="472">
                  <c:v>28.43</c:v>
                </c:pt>
                <c:pt idx="473">
                  <c:v>-8.0000000000000043E-2</c:v>
                </c:pt>
                <c:pt idx="474">
                  <c:v>31.99</c:v>
                </c:pt>
                <c:pt idx="475">
                  <c:v>-2</c:v>
                </c:pt>
                <c:pt idx="476">
                  <c:v>9.3000000000000007</c:v>
                </c:pt>
                <c:pt idx="477">
                  <c:v>-19.920000000000002</c:v>
                </c:pt>
                <c:pt idx="478">
                  <c:v>32.54</c:v>
                </c:pt>
                <c:pt idx="479">
                  <c:v>14.26</c:v>
                </c:pt>
                <c:pt idx="480">
                  <c:v>-5.31</c:v>
                </c:pt>
                <c:pt idx="481">
                  <c:v>24.65000000000002</c:v>
                </c:pt>
                <c:pt idx="482">
                  <c:v>35.99</c:v>
                </c:pt>
                <c:pt idx="483">
                  <c:v>-2.4</c:v>
                </c:pt>
                <c:pt idx="484">
                  <c:v>-1.1200000000000001</c:v>
                </c:pt>
                <c:pt idx="485">
                  <c:v>42.44</c:v>
                </c:pt>
                <c:pt idx="486">
                  <c:v>24.03</c:v>
                </c:pt>
                <c:pt idx="487">
                  <c:v>29.06</c:v>
                </c:pt>
                <c:pt idx="488">
                  <c:v>19.37</c:v>
                </c:pt>
                <c:pt idx="489">
                  <c:v>36.4</c:v>
                </c:pt>
                <c:pt idx="490">
                  <c:v>19.399999999999999</c:v>
                </c:pt>
                <c:pt idx="491">
                  <c:v>31.479999999999986</c:v>
                </c:pt>
                <c:pt idx="492">
                  <c:v>-0.74000000000000066</c:v>
                </c:pt>
                <c:pt idx="493">
                  <c:v>24.64</c:v>
                </c:pt>
                <c:pt idx="494">
                  <c:v>-24.41</c:v>
                </c:pt>
                <c:pt idx="495">
                  <c:v>-19.98999999999997</c:v>
                </c:pt>
                <c:pt idx="496">
                  <c:v>10.370000000000006</c:v>
                </c:pt>
                <c:pt idx="497">
                  <c:v>22.01</c:v>
                </c:pt>
                <c:pt idx="498">
                  <c:v>9.2800000000000011</c:v>
                </c:pt>
                <c:pt idx="499">
                  <c:v>-29.93</c:v>
                </c:pt>
                <c:pt idx="500">
                  <c:v>-11.05</c:v>
                </c:pt>
                <c:pt idx="501">
                  <c:v>33.89</c:v>
                </c:pt>
                <c:pt idx="502">
                  <c:v>1.0000000000000005E-2</c:v>
                </c:pt>
                <c:pt idx="503">
                  <c:v>22.08</c:v>
                </c:pt>
                <c:pt idx="504">
                  <c:v>-1.75</c:v>
                </c:pt>
                <c:pt idx="505">
                  <c:v>9.1</c:v>
                </c:pt>
                <c:pt idx="506">
                  <c:v>30.13000000000002</c:v>
                </c:pt>
                <c:pt idx="507">
                  <c:v>-4.1199999999999966</c:v>
                </c:pt>
                <c:pt idx="508">
                  <c:v>15.9</c:v>
                </c:pt>
                <c:pt idx="509">
                  <c:v>18.52</c:v>
                </c:pt>
                <c:pt idx="510">
                  <c:v>9.56</c:v>
                </c:pt>
                <c:pt idx="511">
                  <c:v>2.8699999999999997</c:v>
                </c:pt>
                <c:pt idx="512">
                  <c:v>32.190000000000012</c:v>
                </c:pt>
                <c:pt idx="513">
                  <c:v>16.079999999999988</c:v>
                </c:pt>
                <c:pt idx="514">
                  <c:v>15.84</c:v>
                </c:pt>
                <c:pt idx="515">
                  <c:v>33.99</c:v>
                </c:pt>
                <c:pt idx="516">
                  <c:v>-4.1099999999999985</c:v>
                </c:pt>
                <c:pt idx="517">
                  <c:v>38.96</c:v>
                </c:pt>
                <c:pt idx="518">
                  <c:v>-0.13</c:v>
                </c:pt>
                <c:pt idx="519">
                  <c:v>23.73</c:v>
                </c:pt>
                <c:pt idx="520">
                  <c:v>12.43</c:v>
                </c:pt>
                <c:pt idx="521">
                  <c:v>17.48999999999997</c:v>
                </c:pt>
                <c:pt idx="522">
                  <c:v>-1.84</c:v>
                </c:pt>
                <c:pt idx="523">
                  <c:v>33.92</c:v>
                </c:pt>
                <c:pt idx="524">
                  <c:v>38.96</c:v>
                </c:pt>
                <c:pt idx="525">
                  <c:v>14.9</c:v>
                </c:pt>
                <c:pt idx="526">
                  <c:v>14.29</c:v>
                </c:pt>
                <c:pt idx="527">
                  <c:v>9.3700000000000028</c:v>
                </c:pt>
                <c:pt idx="528">
                  <c:v>43.54</c:v>
                </c:pt>
                <c:pt idx="529">
                  <c:v>19.010000000000005</c:v>
                </c:pt>
                <c:pt idx="530">
                  <c:v>-5.0599999999999996</c:v>
                </c:pt>
                <c:pt idx="531">
                  <c:v>31.419999999999987</c:v>
                </c:pt>
                <c:pt idx="532">
                  <c:v>-19.63000000000002</c:v>
                </c:pt>
                <c:pt idx="533">
                  <c:v>32.370000000000005</c:v>
                </c:pt>
                <c:pt idx="534">
                  <c:v>27.419999999999987</c:v>
                </c:pt>
                <c:pt idx="535">
                  <c:v>-7.0000000000000021E-2</c:v>
                </c:pt>
                <c:pt idx="536">
                  <c:v>33.82</c:v>
                </c:pt>
                <c:pt idx="537">
                  <c:v>5.57</c:v>
                </c:pt>
                <c:pt idx="538">
                  <c:v>26</c:v>
                </c:pt>
                <c:pt idx="539">
                  <c:v>24.23</c:v>
                </c:pt>
                <c:pt idx="540">
                  <c:v>17.87</c:v>
                </c:pt>
                <c:pt idx="541">
                  <c:v>-0.81</c:v>
                </c:pt>
                <c:pt idx="542">
                  <c:v>22.31000000000002</c:v>
                </c:pt>
                <c:pt idx="543">
                  <c:v>14.25</c:v>
                </c:pt>
                <c:pt idx="544">
                  <c:v>24.85</c:v>
                </c:pt>
                <c:pt idx="545">
                  <c:v>30.02</c:v>
                </c:pt>
                <c:pt idx="546">
                  <c:v>-5.08</c:v>
                </c:pt>
                <c:pt idx="547">
                  <c:v>-5</c:v>
                </c:pt>
                <c:pt idx="548">
                  <c:v>16.73</c:v>
                </c:pt>
                <c:pt idx="549">
                  <c:v>24.05</c:v>
                </c:pt>
                <c:pt idx="550">
                  <c:v>29.110000000000021</c:v>
                </c:pt>
                <c:pt idx="551">
                  <c:v>31.17</c:v>
                </c:pt>
                <c:pt idx="552">
                  <c:v>26.69</c:v>
                </c:pt>
                <c:pt idx="553">
                  <c:v>24.43</c:v>
                </c:pt>
                <c:pt idx="554">
                  <c:v>23.74</c:v>
                </c:pt>
                <c:pt idx="555">
                  <c:v>31.49</c:v>
                </c:pt>
                <c:pt idx="556">
                  <c:v>3.9099999999999997</c:v>
                </c:pt>
                <c:pt idx="557">
                  <c:v>17.239999999999988</c:v>
                </c:pt>
                <c:pt idx="558">
                  <c:v>9.9</c:v>
                </c:pt>
                <c:pt idx="559">
                  <c:v>27.63000000000002</c:v>
                </c:pt>
                <c:pt idx="560">
                  <c:v>35.790000000000013</c:v>
                </c:pt>
                <c:pt idx="561">
                  <c:v>-0.96000000000000063</c:v>
                </c:pt>
                <c:pt idx="562">
                  <c:v>-14.34</c:v>
                </c:pt>
                <c:pt idx="563">
                  <c:v>18.18</c:v>
                </c:pt>
                <c:pt idx="564">
                  <c:v>12.25</c:v>
                </c:pt>
                <c:pt idx="565">
                  <c:v>15.23</c:v>
                </c:pt>
                <c:pt idx="566">
                  <c:v>-7.3199999999999985</c:v>
                </c:pt>
                <c:pt idx="567">
                  <c:v>29.16</c:v>
                </c:pt>
                <c:pt idx="568">
                  <c:v>10.030000000000001</c:v>
                </c:pt>
                <c:pt idx="569">
                  <c:v>15.870000000000006</c:v>
                </c:pt>
                <c:pt idx="570">
                  <c:v>23.03</c:v>
                </c:pt>
                <c:pt idx="571">
                  <c:v>16.510000000000005</c:v>
                </c:pt>
                <c:pt idx="572">
                  <c:v>39.25</c:v>
                </c:pt>
                <c:pt idx="573">
                  <c:v>37.840000000000003</c:v>
                </c:pt>
                <c:pt idx="574">
                  <c:v>-10.07</c:v>
                </c:pt>
                <c:pt idx="575">
                  <c:v>28.43</c:v>
                </c:pt>
                <c:pt idx="576">
                  <c:v>28.5</c:v>
                </c:pt>
                <c:pt idx="577">
                  <c:v>9.08</c:v>
                </c:pt>
                <c:pt idx="578">
                  <c:v>35.85</c:v>
                </c:pt>
                <c:pt idx="579">
                  <c:v>9.0000000000000024E-2</c:v>
                </c:pt>
                <c:pt idx="580">
                  <c:v>20.3</c:v>
                </c:pt>
                <c:pt idx="581">
                  <c:v>31.919999999999987</c:v>
                </c:pt>
                <c:pt idx="582">
                  <c:v>3.2</c:v>
                </c:pt>
                <c:pt idx="583">
                  <c:v>9.7900000000000009</c:v>
                </c:pt>
                <c:pt idx="584">
                  <c:v>26.04</c:v>
                </c:pt>
                <c:pt idx="585">
                  <c:v>20.79</c:v>
                </c:pt>
                <c:pt idx="586">
                  <c:v>17.479999999999986</c:v>
                </c:pt>
                <c:pt idx="587">
                  <c:v>31.49</c:v>
                </c:pt>
                <c:pt idx="588">
                  <c:v>13.3</c:v>
                </c:pt>
                <c:pt idx="589">
                  <c:v>9.84</c:v>
                </c:pt>
                <c:pt idx="590">
                  <c:v>8.4</c:v>
                </c:pt>
                <c:pt idx="591">
                  <c:v>24.43</c:v>
                </c:pt>
                <c:pt idx="592">
                  <c:v>23.979999999999986</c:v>
                </c:pt>
                <c:pt idx="593">
                  <c:v>3.74</c:v>
                </c:pt>
                <c:pt idx="594">
                  <c:v>27.14</c:v>
                </c:pt>
                <c:pt idx="595">
                  <c:v>27.69</c:v>
                </c:pt>
                <c:pt idx="596">
                  <c:v>9.8000000000000007</c:v>
                </c:pt>
                <c:pt idx="597">
                  <c:v>28.37</c:v>
                </c:pt>
                <c:pt idx="598">
                  <c:v>18.02</c:v>
                </c:pt>
                <c:pt idx="599">
                  <c:v>19.71</c:v>
                </c:pt>
                <c:pt idx="600">
                  <c:v>29.479999999999986</c:v>
                </c:pt>
                <c:pt idx="601">
                  <c:v>30.06</c:v>
                </c:pt>
                <c:pt idx="602">
                  <c:v>12.01</c:v>
                </c:pt>
                <c:pt idx="603">
                  <c:v>21.62</c:v>
                </c:pt>
                <c:pt idx="604">
                  <c:v>-12.11</c:v>
                </c:pt>
                <c:pt idx="605">
                  <c:v>15.93</c:v>
                </c:pt>
                <c:pt idx="606">
                  <c:v>25.99</c:v>
                </c:pt>
                <c:pt idx="607">
                  <c:v>-7.0000000000000021E-2</c:v>
                </c:pt>
                <c:pt idx="608">
                  <c:v>11.23</c:v>
                </c:pt>
                <c:pt idx="609">
                  <c:v>-1.9100000000000001</c:v>
                </c:pt>
                <c:pt idx="610">
                  <c:v>9.98</c:v>
                </c:pt>
                <c:pt idx="611">
                  <c:v>22.330000000000005</c:v>
                </c:pt>
                <c:pt idx="612">
                  <c:v>9.48</c:v>
                </c:pt>
                <c:pt idx="613">
                  <c:v>21.05</c:v>
                </c:pt>
                <c:pt idx="614">
                  <c:v>38.950000000000003</c:v>
                </c:pt>
                <c:pt idx="615">
                  <c:v>18.760000000000002</c:v>
                </c:pt>
                <c:pt idx="616">
                  <c:v>35.93</c:v>
                </c:pt>
                <c:pt idx="617">
                  <c:v>10.4</c:v>
                </c:pt>
                <c:pt idx="618">
                  <c:v>8.8800000000000008</c:v>
                </c:pt>
                <c:pt idx="619">
                  <c:v>28.15000000000002</c:v>
                </c:pt>
                <c:pt idx="620">
                  <c:v>2.0000000000000011E-2</c:v>
                </c:pt>
                <c:pt idx="621">
                  <c:v>17.190000000000001</c:v>
                </c:pt>
                <c:pt idx="622">
                  <c:v>15.01</c:v>
                </c:pt>
                <c:pt idx="623">
                  <c:v>23.759999999999987</c:v>
                </c:pt>
                <c:pt idx="624">
                  <c:v>27.4</c:v>
                </c:pt>
                <c:pt idx="625">
                  <c:v>-2.3299999999999987</c:v>
                </c:pt>
                <c:pt idx="626">
                  <c:v>34.950000000000003</c:v>
                </c:pt>
                <c:pt idx="627">
                  <c:v>17.38</c:v>
                </c:pt>
                <c:pt idx="628">
                  <c:v>9.7000000000000011</c:v>
                </c:pt>
                <c:pt idx="629">
                  <c:v>13.76</c:v>
                </c:pt>
                <c:pt idx="630">
                  <c:v>28.3</c:v>
                </c:pt>
                <c:pt idx="631">
                  <c:v>10.79</c:v>
                </c:pt>
                <c:pt idx="632">
                  <c:v>11.9</c:v>
                </c:pt>
                <c:pt idx="633">
                  <c:v>26.93</c:v>
                </c:pt>
                <c:pt idx="634">
                  <c:v>23.73</c:v>
                </c:pt>
                <c:pt idx="635">
                  <c:v>26.71</c:v>
                </c:pt>
                <c:pt idx="636">
                  <c:v>28.62</c:v>
                </c:pt>
                <c:pt idx="637">
                  <c:v>33.65</c:v>
                </c:pt>
                <c:pt idx="638">
                  <c:v>30.779999999999987</c:v>
                </c:pt>
                <c:pt idx="639">
                  <c:v>13.15</c:v>
                </c:pt>
                <c:pt idx="640">
                  <c:v>30.65000000000002</c:v>
                </c:pt>
                <c:pt idx="641">
                  <c:v>26.63000000000002</c:v>
                </c:pt>
                <c:pt idx="642">
                  <c:v>13.370000000000006</c:v>
                </c:pt>
                <c:pt idx="643">
                  <c:v>11.55</c:v>
                </c:pt>
                <c:pt idx="644">
                  <c:v>24.67</c:v>
                </c:pt>
                <c:pt idx="645">
                  <c:v>1.0000000000000005E-2</c:v>
                </c:pt>
                <c:pt idx="646">
                  <c:v>4.46</c:v>
                </c:pt>
                <c:pt idx="647">
                  <c:v>24.02</c:v>
                </c:pt>
                <c:pt idx="648">
                  <c:v>13.47</c:v>
                </c:pt>
                <c:pt idx="649">
                  <c:v>0.11</c:v>
                </c:pt>
                <c:pt idx="650">
                  <c:v>5.99</c:v>
                </c:pt>
                <c:pt idx="651">
                  <c:v>27.97</c:v>
                </c:pt>
                <c:pt idx="652">
                  <c:v>22.65000000000002</c:v>
                </c:pt>
                <c:pt idx="653">
                  <c:v>17.850000000000001</c:v>
                </c:pt>
                <c:pt idx="654">
                  <c:v>4.0000000000000022E-2</c:v>
                </c:pt>
                <c:pt idx="655">
                  <c:v>-5.03</c:v>
                </c:pt>
                <c:pt idx="656">
                  <c:v>22.87</c:v>
                </c:pt>
                <c:pt idx="657">
                  <c:v>30.23</c:v>
                </c:pt>
                <c:pt idx="658">
                  <c:v>51.93</c:v>
                </c:pt>
                <c:pt idx="659">
                  <c:v>29.07</c:v>
                </c:pt>
                <c:pt idx="660">
                  <c:v>-7.72</c:v>
                </c:pt>
                <c:pt idx="661">
                  <c:v>19.979999999999986</c:v>
                </c:pt>
                <c:pt idx="662">
                  <c:v>21.12</c:v>
                </c:pt>
                <c:pt idx="663">
                  <c:v>26.02</c:v>
                </c:pt>
                <c:pt idx="664">
                  <c:v>14.92</c:v>
                </c:pt>
                <c:pt idx="665">
                  <c:v>34.660000000000011</c:v>
                </c:pt>
                <c:pt idx="666">
                  <c:v>13.13</c:v>
                </c:pt>
                <c:pt idx="667">
                  <c:v>16.57</c:v>
                </c:pt>
                <c:pt idx="668">
                  <c:v>9.27</c:v>
                </c:pt>
                <c:pt idx="669">
                  <c:v>44.97</c:v>
                </c:pt>
                <c:pt idx="670">
                  <c:v>12.65</c:v>
                </c:pt>
                <c:pt idx="671">
                  <c:v>30.02</c:v>
                </c:pt>
                <c:pt idx="672">
                  <c:v>-8.0000000000000043E-2</c:v>
                </c:pt>
                <c:pt idx="673">
                  <c:v>0.26</c:v>
                </c:pt>
                <c:pt idx="674">
                  <c:v>18.39</c:v>
                </c:pt>
                <c:pt idx="675">
                  <c:v>10.74</c:v>
                </c:pt>
                <c:pt idx="676">
                  <c:v>33.03</c:v>
                </c:pt>
                <c:pt idx="677">
                  <c:v>32.410000000000004</c:v>
                </c:pt>
                <c:pt idx="678">
                  <c:v>6.68</c:v>
                </c:pt>
                <c:pt idx="679">
                  <c:v>17.920000000000002</c:v>
                </c:pt>
                <c:pt idx="680">
                  <c:v>38.950000000000003</c:v>
                </c:pt>
                <c:pt idx="681">
                  <c:v>23.88</c:v>
                </c:pt>
                <c:pt idx="682">
                  <c:v>50.99</c:v>
                </c:pt>
                <c:pt idx="683">
                  <c:v>28.81000000000002</c:v>
                </c:pt>
                <c:pt idx="684">
                  <c:v>29.25</c:v>
                </c:pt>
                <c:pt idx="685">
                  <c:v>33.700000000000003</c:v>
                </c:pt>
                <c:pt idx="686">
                  <c:v>17.55</c:v>
                </c:pt>
                <c:pt idx="687">
                  <c:v>20.479999999999986</c:v>
                </c:pt>
                <c:pt idx="688">
                  <c:v>-0.9</c:v>
                </c:pt>
                <c:pt idx="689">
                  <c:v>16.25</c:v>
                </c:pt>
                <c:pt idx="690">
                  <c:v>20.079999999999988</c:v>
                </c:pt>
                <c:pt idx="691">
                  <c:v>31.979999999999986</c:v>
                </c:pt>
                <c:pt idx="692">
                  <c:v>54.94</c:v>
                </c:pt>
                <c:pt idx="693">
                  <c:v>15.33</c:v>
                </c:pt>
                <c:pt idx="694">
                  <c:v>35.760000000000012</c:v>
                </c:pt>
                <c:pt idx="695">
                  <c:v>3.68</c:v>
                </c:pt>
                <c:pt idx="696">
                  <c:v>12.14</c:v>
                </c:pt>
                <c:pt idx="697">
                  <c:v>14.96</c:v>
                </c:pt>
                <c:pt idx="698">
                  <c:v>9.7800000000000011</c:v>
                </c:pt>
                <c:pt idx="699">
                  <c:v>14.58</c:v>
                </c:pt>
                <c:pt idx="700">
                  <c:v>14.36000000000001</c:v>
                </c:pt>
                <c:pt idx="701">
                  <c:v>32.83</c:v>
                </c:pt>
                <c:pt idx="702">
                  <c:v>11.01</c:v>
                </c:pt>
                <c:pt idx="703">
                  <c:v>32.33</c:v>
                </c:pt>
                <c:pt idx="704">
                  <c:v>14.9</c:v>
                </c:pt>
                <c:pt idx="705">
                  <c:v>14.44</c:v>
                </c:pt>
                <c:pt idx="706">
                  <c:v>-2</c:v>
                </c:pt>
                <c:pt idx="707">
                  <c:v>16.829999999999988</c:v>
                </c:pt>
                <c:pt idx="708">
                  <c:v>36.97</c:v>
                </c:pt>
                <c:pt idx="709">
                  <c:v>27.67</c:v>
                </c:pt>
                <c:pt idx="710">
                  <c:v>2.8299999999999987</c:v>
                </c:pt>
                <c:pt idx="711">
                  <c:v>35.380000000000003</c:v>
                </c:pt>
                <c:pt idx="712">
                  <c:v>26.419999999999987</c:v>
                </c:pt>
                <c:pt idx="713">
                  <c:v>6.1</c:v>
                </c:pt>
                <c:pt idx="714">
                  <c:v>1.6400000000000001</c:v>
                </c:pt>
                <c:pt idx="715">
                  <c:v>25.62</c:v>
                </c:pt>
                <c:pt idx="716">
                  <c:v>10.42</c:v>
                </c:pt>
                <c:pt idx="717">
                  <c:v>5.24</c:v>
                </c:pt>
                <c:pt idx="718">
                  <c:v>14.09</c:v>
                </c:pt>
                <c:pt idx="719">
                  <c:v>29.81000000000002</c:v>
                </c:pt>
                <c:pt idx="720">
                  <c:v>-8.67</c:v>
                </c:pt>
                <c:pt idx="721">
                  <c:v>14.57</c:v>
                </c:pt>
                <c:pt idx="722">
                  <c:v>18.649999999999999</c:v>
                </c:pt>
                <c:pt idx="723">
                  <c:v>13.73</c:v>
                </c:pt>
                <c:pt idx="724">
                  <c:v>16.2</c:v>
                </c:pt>
                <c:pt idx="725">
                  <c:v>6.98</c:v>
                </c:pt>
                <c:pt idx="726">
                  <c:v>12.9</c:v>
                </c:pt>
                <c:pt idx="727">
                  <c:v>18.97</c:v>
                </c:pt>
                <c:pt idx="728">
                  <c:v>24.97</c:v>
                </c:pt>
                <c:pt idx="729">
                  <c:v>16.63000000000002</c:v>
                </c:pt>
                <c:pt idx="730">
                  <c:v>28.89</c:v>
                </c:pt>
                <c:pt idx="731">
                  <c:v>28.63000000000002</c:v>
                </c:pt>
                <c:pt idx="732">
                  <c:v>27.74</c:v>
                </c:pt>
                <c:pt idx="733">
                  <c:v>13.77</c:v>
                </c:pt>
                <c:pt idx="734">
                  <c:v>10.57</c:v>
                </c:pt>
                <c:pt idx="735">
                  <c:v>36.090000000000003</c:v>
                </c:pt>
                <c:pt idx="736">
                  <c:v>24.23</c:v>
                </c:pt>
                <c:pt idx="737">
                  <c:v>11.15</c:v>
                </c:pt>
                <c:pt idx="738">
                  <c:v>17.23</c:v>
                </c:pt>
                <c:pt idx="739">
                  <c:v>4.0000000000000022E-2</c:v>
                </c:pt>
                <c:pt idx="740">
                  <c:v>29.71</c:v>
                </c:pt>
                <c:pt idx="741">
                  <c:v>32.120000000000012</c:v>
                </c:pt>
                <c:pt idx="742">
                  <c:v>32.760000000000012</c:v>
                </c:pt>
                <c:pt idx="743">
                  <c:v>-2.19</c:v>
                </c:pt>
                <c:pt idx="744">
                  <c:v>-1.0000000000000005E-2</c:v>
                </c:pt>
                <c:pt idx="745">
                  <c:v>10.69</c:v>
                </c:pt>
                <c:pt idx="746">
                  <c:v>22.4</c:v>
                </c:pt>
                <c:pt idx="747">
                  <c:v>23.01</c:v>
                </c:pt>
                <c:pt idx="748">
                  <c:v>37.44</c:v>
                </c:pt>
                <c:pt idx="749">
                  <c:v>34.74</c:v>
                </c:pt>
                <c:pt idx="750">
                  <c:v>28.72</c:v>
                </c:pt>
                <c:pt idx="751">
                  <c:v>22.31000000000002</c:v>
                </c:pt>
                <c:pt idx="752">
                  <c:v>9.7200000000000006</c:v>
                </c:pt>
                <c:pt idx="753">
                  <c:v>4.17</c:v>
                </c:pt>
                <c:pt idx="754">
                  <c:v>30</c:v>
                </c:pt>
                <c:pt idx="755">
                  <c:v>-9.0000000000000024E-2</c:v>
                </c:pt>
                <c:pt idx="756">
                  <c:v>14.950000000000006</c:v>
                </c:pt>
                <c:pt idx="757">
                  <c:v>35.74</c:v>
                </c:pt>
                <c:pt idx="758">
                  <c:v>23.29</c:v>
                </c:pt>
                <c:pt idx="759">
                  <c:v>12.44</c:v>
                </c:pt>
                <c:pt idx="760">
                  <c:v>34.94</c:v>
                </c:pt>
                <c:pt idx="761">
                  <c:v>9.2100000000000009</c:v>
                </c:pt>
                <c:pt idx="762">
                  <c:v>12</c:v>
                </c:pt>
                <c:pt idx="763">
                  <c:v>10.220000000000001</c:v>
                </c:pt>
                <c:pt idx="764">
                  <c:v>19.309999999999999</c:v>
                </c:pt>
                <c:pt idx="765">
                  <c:v>17.23</c:v>
                </c:pt>
                <c:pt idx="766">
                  <c:v>26.2</c:v>
                </c:pt>
                <c:pt idx="767">
                  <c:v>9.0000000000000024E-2</c:v>
                </c:pt>
                <c:pt idx="768">
                  <c:v>19.02</c:v>
                </c:pt>
                <c:pt idx="769">
                  <c:v>32.800000000000004</c:v>
                </c:pt>
                <c:pt idx="770">
                  <c:v>27.07</c:v>
                </c:pt>
                <c:pt idx="771">
                  <c:v>21.64</c:v>
                </c:pt>
                <c:pt idx="772">
                  <c:v>13.370000000000006</c:v>
                </c:pt>
                <c:pt idx="773">
                  <c:v>11.69</c:v>
                </c:pt>
                <c:pt idx="774">
                  <c:v>9.3700000000000028</c:v>
                </c:pt>
                <c:pt idx="775">
                  <c:v>16.829999999999988</c:v>
                </c:pt>
                <c:pt idx="776">
                  <c:v>15.950000000000006</c:v>
                </c:pt>
                <c:pt idx="777">
                  <c:v>37.290000000000013</c:v>
                </c:pt>
                <c:pt idx="778">
                  <c:v>29.439999999999987</c:v>
                </c:pt>
                <c:pt idx="779">
                  <c:v>27.85</c:v>
                </c:pt>
                <c:pt idx="780">
                  <c:v>13.33</c:v>
                </c:pt>
                <c:pt idx="781">
                  <c:v>11.64</c:v>
                </c:pt>
                <c:pt idx="782">
                  <c:v>33.36</c:v>
                </c:pt>
                <c:pt idx="783">
                  <c:v>27.64</c:v>
                </c:pt>
                <c:pt idx="784">
                  <c:v>19.920000000000002</c:v>
                </c:pt>
                <c:pt idx="785">
                  <c:v>31.79</c:v>
                </c:pt>
                <c:pt idx="786">
                  <c:v>30.32</c:v>
                </c:pt>
                <c:pt idx="787">
                  <c:v>1.0000000000000005E-2</c:v>
                </c:pt>
                <c:pt idx="788">
                  <c:v>10.46</c:v>
                </c:pt>
                <c:pt idx="789">
                  <c:v>37.01</c:v>
                </c:pt>
                <c:pt idx="790">
                  <c:v>31.62</c:v>
                </c:pt>
                <c:pt idx="791">
                  <c:v>15.74</c:v>
                </c:pt>
                <c:pt idx="792">
                  <c:v>3.0000000000000002E-2</c:v>
                </c:pt>
                <c:pt idx="793">
                  <c:v>16.07</c:v>
                </c:pt>
                <c:pt idx="794">
                  <c:v>20.919999999999987</c:v>
                </c:pt>
                <c:pt idx="795">
                  <c:v>11.84</c:v>
                </c:pt>
                <c:pt idx="796">
                  <c:v>10.6</c:v>
                </c:pt>
                <c:pt idx="797">
                  <c:v>10.18</c:v>
                </c:pt>
                <c:pt idx="798">
                  <c:v>35.720000000000013</c:v>
                </c:pt>
                <c:pt idx="799">
                  <c:v>8.65</c:v>
                </c:pt>
                <c:pt idx="800">
                  <c:v>24.99</c:v>
                </c:pt>
                <c:pt idx="801">
                  <c:v>24.55</c:v>
                </c:pt>
                <c:pt idx="802">
                  <c:v>13.48</c:v>
                </c:pt>
                <c:pt idx="803">
                  <c:v>33.230000000000011</c:v>
                </c:pt>
                <c:pt idx="804">
                  <c:v>39.49</c:v>
                </c:pt>
                <c:pt idx="805">
                  <c:v>13.79</c:v>
                </c:pt>
                <c:pt idx="806">
                  <c:v>28.91</c:v>
                </c:pt>
                <c:pt idx="807">
                  <c:v>-9.9500000000000028</c:v>
                </c:pt>
                <c:pt idx="808">
                  <c:v>34.92</c:v>
                </c:pt>
                <c:pt idx="809">
                  <c:v>12.81</c:v>
                </c:pt>
                <c:pt idx="810">
                  <c:v>21.9</c:v>
                </c:pt>
                <c:pt idx="811">
                  <c:v>13.71</c:v>
                </c:pt>
                <c:pt idx="812">
                  <c:v>3.0000000000000002E-2</c:v>
                </c:pt>
                <c:pt idx="813">
                  <c:v>15.65</c:v>
                </c:pt>
                <c:pt idx="814">
                  <c:v>-1.87</c:v>
                </c:pt>
                <c:pt idx="815">
                  <c:v>10.42</c:v>
                </c:pt>
                <c:pt idx="816">
                  <c:v>46.44</c:v>
                </c:pt>
                <c:pt idx="817">
                  <c:v>21.479999999999986</c:v>
                </c:pt>
                <c:pt idx="818">
                  <c:v>12.56</c:v>
                </c:pt>
                <c:pt idx="819">
                  <c:v>14.5</c:v>
                </c:pt>
                <c:pt idx="820">
                  <c:v>10.52</c:v>
                </c:pt>
                <c:pt idx="821">
                  <c:v>16.059999999999999</c:v>
                </c:pt>
                <c:pt idx="822">
                  <c:v>17.05</c:v>
                </c:pt>
                <c:pt idx="823">
                  <c:v>43.690000000000012</c:v>
                </c:pt>
                <c:pt idx="824">
                  <c:v>11.79</c:v>
                </c:pt>
                <c:pt idx="825">
                  <c:v>37.58</c:v>
                </c:pt>
                <c:pt idx="826">
                  <c:v>24.35</c:v>
                </c:pt>
                <c:pt idx="827">
                  <c:v>30.86</c:v>
                </c:pt>
                <c:pt idx="828">
                  <c:v>26.459999999999987</c:v>
                </c:pt>
                <c:pt idx="829">
                  <c:v>34.200000000000003</c:v>
                </c:pt>
                <c:pt idx="830">
                  <c:v>43.98</c:v>
                </c:pt>
                <c:pt idx="831">
                  <c:v>32.71</c:v>
                </c:pt>
                <c:pt idx="832">
                  <c:v>15.72</c:v>
                </c:pt>
                <c:pt idx="833">
                  <c:v>1.9300000000000013</c:v>
                </c:pt>
                <c:pt idx="834">
                  <c:v>16.53</c:v>
                </c:pt>
                <c:pt idx="835">
                  <c:v>10.56</c:v>
                </c:pt>
                <c:pt idx="836">
                  <c:v>8.3500000000000068</c:v>
                </c:pt>
                <c:pt idx="837">
                  <c:v>27.02</c:v>
                </c:pt>
                <c:pt idx="838">
                  <c:v>41.2</c:v>
                </c:pt>
                <c:pt idx="839">
                  <c:v>21.95</c:v>
                </c:pt>
                <c:pt idx="840">
                  <c:v>31.6</c:v>
                </c:pt>
                <c:pt idx="841">
                  <c:v>15.35000000000001</c:v>
                </c:pt>
                <c:pt idx="842">
                  <c:v>41.84</c:v>
                </c:pt>
                <c:pt idx="843">
                  <c:v>23.479999999999986</c:v>
                </c:pt>
                <c:pt idx="844">
                  <c:v>24.04</c:v>
                </c:pt>
                <c:pt idx="845">
                  <c:v>30.17</c:v>
                </c:pt>
                <c:pt idx="846">
                  <c:v>32.36</c:v>
                </c:pt>
                <c:pt idx="847">
                  <c:v>-4.0000000000000022E-2</c:v>
                </c:pt>
                <c:pt idx="848">
                  <c:v>32.980000000000004</c:v>
                </c:pt>
                <c:pt idx="849">
                  <c:v>26.59</c:v>
                </c:pt>
                <c:pt idx="850">
                  <c:v>0.44</c:v>
                </c:pt>
                <c:pt idx="851">
                  <c:v>14.92</c:v>
                </c:pt>
                <c:pt idx="852">
                  <c:v>7.29</c:v>
                </c:pt>
                <c:pt idx="853">
                  <c:v>32</c:v>
                </c:pt>
                <c:pt idx="854">
                  <c:v>15.47</c:v>
                </c:pt>
                <c:pt idx="855">
                  <c:v>23.939999999999987</c:v>
                </c:pt>
                <c:pt idx="856">
                  <c:v>29.7</c:v>
                </c:pt>
                <c:pt idx="857">
                  <c:v>32.99</c:v>
                </c:pt>
                <c:pt idx="858">
                  <c:v>25.419999999999987</c:v>
                </c:pt>
                <c:pt idx="859">
                  <c:v>25.08</c:v>
                </c:pt>
                <c:pt idx="860">
                  <c:v>35.92</c:v>
                </c:pt>
                <c:pt idx="861">
                  <c:v>39.130000000000003</c:v>
                </c:pt>
                <c:pt idx="862">
                  <c:v>24.5</c:v>
                </c:pt>
                <c:pt idx="863">
                  <c:v>11.21</c:v>
                </c:pt>
                <c:pt idx="864">
                  <c:v>-0.05</c:v>
                </c:pt>
                <c:pt idx="865">
                  <c:v>16.12</c:v>
                </c:pt>
                <c:pt idx="866">
                  <c:v>-9.0000000000000024E-2</c:v>
                </c:pt>
                <c:pt idx="867">
                  <c:v>33.93</c:v>
                </c:pt>
                <c:pt idx="868">
                  <c:v>27.51</c:v>
                </c:pt>
                <c:pt idx="869">
                  <c:v>15.38</c:v>
                </c:pt>
                <c:pt idx="870">
                  <c:v>39.92</c:v>
                </c:pt>
                <c:pt idx="871">
                  <c:v>35.01</c:v>
                </c:pt>
                <c:pt idx="872">
                  <c:v>12.48</c:v>
                </c:pt>
                <c:pt idx="873">
                  <c:v>11.17</c:v>
                </c:pt>
                <c:pt idx="874">
                  <c:v>14.72</c:v>
                </c:pt>
                <c:pt idx="875">
                  <c:v>30.1</c:v>
                </c:pt>
                <c:pt idx="876">
                  <c:v>0.11</c:v>
                </c:pt>
                <c:pt idx="877">
                  <c:v>30.479999999999986</c:v>
                </c:pt>
                <c:pt idx="878">
                  <c:v>33.44</c:v>
                </c:pt>
                <c:pt idx="879">
                  <c:v>12.14</c:v>
                </c:pt>
                <c:pt idx="880">
                  <c:v>22.34</c:v>
                </c:pt>
                <c:pt idx="881">
                  <c:v>37.89</c:v>
                </c:pt>
                <c:pt idx="882">
                  <c:v>-9.0000000000000024E-2</c:v>
                </c:pt>
                <c:pt idx="883">
                  <c:v>18.309999999999999</c:v>
                </c:pt>
                <c:pt idx="884">
                  <c:v>13.7</c:v>
                </c:pt>
                <c:pt idx="885">
                  <c:v>5.84</c:v>
                </c:pt>
                <c:pt idx="886">
                  <c:v>6.29</c:v>
                </c:pt>
                <c:pt idx="887">
                  <c:v>17.09</c:v>
                </c:pt>
                <c:pt idx="888">
                  <c:v>15.44</c:v>
                </c:pt>
                <c:pt idx="889">
                  <c:v>37.81</c:v>
                </c:pt>
                <c:pt idx="890">
                  <c:v>41</c:v>
                </c:pt>
                <c:pt idx="891">
                  <c:v>21.87</c:v>
                </c:pt>
                <c:pt idx="892">
                  <c:v>37.220000000000013</c:v>
                </c:pt>
                <c:pt idx="893">
                  <c:v>26.830000000000005</c:v>
                </c:pt>
                <c:pt idx="894">
                  <c:v>39.31</c:v>
                </c:pt>
                <c:pt idx="895">
                  <c:v>4.2</c:v>
                </c:pt>
                <c:pt idx="896">
                  <c:v>0</c:v>
                </c:pt>
                <c:pt idx="897">
                  <c:v>16.18</c:v>
                </c:pt>
                <c:pt idx="898">
                  <c:v>22.919999999999987</c:v>
                </c:pt>
                <c:pt idx="899">
                  <c:v>11.26</c:v>
                </c:pt>
                <c:pt idx="900">
                  <c:v>32.18</c:v>
                </c:pt>
                <c:pt idx="901">
                  <c:v>27.01</c:v>
                </c:pt>
                <c:pt idx="902">
                  <c:v>28.17</c:v>
                </c:pt>
                <c:pt idx="903">
                  <c:v>14.11</c:v>
                </c:pt>
                <c:pt idx="904">
                  <c:v>39.83</c:v>
                </c:pt>
                <c:pt idx="905">
                  <c:v>3.27</c:v>
                </c:pt>
                <c:pt idx="906">
                  <c:v>40.5</c:v>
                </c:pt>
                <c:pt idx="907">
                  <c:v>40</c:v>
                </c:pt>
                <c:pt idx="908">
                  <c:v>28.56</c:v>
                </c:pt>
                <c:pt idx="909">
                  <c:v>38</c:v>
                </c:pt>
                <c:pt idx="910">
                  <c:v>-8.51</c:v>
                </c:pt>
                <c:pt idx="911">
                  <c:v>30.97</c:v>
                </c:pt>
                <c:pt idx="912">
                  <c:v>26.9</c:v>
                </c:pt>
                <c:pt idx="913">
                  <c:v>44.55</c:v>
                </c:pt>
                <c:pt idx="914">
                  <c:v>11.67</c:v>
                </c:pt>
                <c:pt idx="915">
                  <c:v>3.46</c:v>
                </c:pt>
                <c:pt idx="916">
                  <c:v>12.3</c:v>
                </c:pt>
                <c:pt idx="917">
                  <c:v>25.13000000000002</c:v>
                </c:pt>
                <c:pt idx="918">
                  <c:v>46.95</c:v>
                </c:pt>
                <c:pt idx="919">
                  <c:v>29.17</c:v>
                </c:pt>
                <c:pt idx="920">
                  <c:v>22.279999999999987</c:v>
                </c:pt>
                <c:pt idx="921">
                  <c:v>11.32</c:v>
                </c:pt>
                <c:pt idx="922">
                  <c:v>34.130000000000003</c:v>
                </c:pt>
                <c:pt idx="923">
                  <c:v>23.459999999999987</c:v>
                </c:pt>
                <c:pt idx="924">
                  <c:v>33.64</c:v>
                </c:pt>
                <c:pt idx="925">
                  <c:v>27.1</c:v>
                </c:pt>
                <c:pt idx="926">
                  <c:v>28.939999999999987</c:v>
                </c:pt>
                <c:pt idx="927">
                  <c:v>40.5</c:v>
                </c:pt>
                <c:pt idx="928">
                  <c:v>36</c:v>
                </c:pt>
                <c:pt idx="929">
                  <c:v>15.97</c:v>
                </c:pt>
                <c:pt idx="930">
                  <c:v>8.7000000000000011</c:v>
                </c:pt>
                <c:pt idx="931">
                  <c:v>33.17</c:v>
                </c:pt>
                <c:pt idx="932">
                  <c:v>25.56</c:v>
                </c:pt>
                <c:pt idx="933">
                  <c:v>31.34</c:v>
                </c:pt>
                <c:pt idx="934">
                  <c:v>46.03</c:v>
                </c:pt>
                <c:pt idx="935">
                  <c:v>32.24</c:v>
                </c:pt>
                <c:pt idx="936">
                  <c:v>36.03</c:v>
                </c:pt>
                <c:pt idx="937">
                  <c:v>26.01</c:v>
                </c:pt>
                <c:pt idx="938">
                  <c:v>23.41</c:v>
                </c:pt>
                <c:pt idx="939">
                  <c:v>42.15</c:v>
                </c:pt>
                <c:pt idx="940">
                  <c:v>22.07</c:v>
                </c:pt>
                <c:pt idx="941">
                  <c:v>24.97</c:v>
                </c:pt>
                <c:pt idx="942">
                  <c:v>30.07</c:v>
                </c:pt>
                <c:pt idx="943">
                  <c:v>11.14</c:v>
                </c:pt>
                <c:pt idx="944">
                  <c:v>32.93</c:v>
                </c:pt>
                <c:pt idx="945">
                  <c:v>11.16</c:v>
                </c:pt>
                <c:pt idx="946">
                  <c:v>27.07</c:v>
                </c:pt>
                <c:pt idx="947">
                  <c:v>24.37</c:v>
                </c:pt>
                <c:pt idx="948">
                  <c:v>12.93</c:v>
                </c:pt>
                <c:pt idx="949">
                  <c:v>25.2</c:v>
                </c:pt>
                <c:pt idx="950">
                  <c:v>32.230000000000011</c:v>
                </c:pt>
                <c:pt idx="951">
                  <c:v>26</c:v>
                </c:pt>
                <c:pt idx="952">
                  <c:v>23.62</c:v>
                </c:pt>
                <c:pt idx="953">
                  <c:v>12.92</c:v>
                </c:pt>
                <c:pt idx="954">
                  <c:v>15.68</c:v>
                </c:pt>
                <c:pt idx="955">
                  <c:v>22.51</c:v>
                </c:pt>
                <c:pt idx="956">
                  <c:v>38.56</c:v>
                </c:pt>
                <c:pt idx="957">
                  <c:v>28.479999999999986</c:v>
                </c:pt>
                <c:pt idx="958">
                  <c:v>5.08</c:v>
                </c:pt>
                <c:pt idx="959">
                  <c:v>32.14</c:v>
                </c:pt>
                <c:pt idx="960">
                  <c:v>24.330000000000005</c:v>
                </c:pt>
                <c:pt idx="961">
                  <c:v>37.480000000000004</c:v>
                </c:pt>
                <c:pt idx="962">
                  <c:v>26.68</c:v>
                </c:pt>
                <c:pt idx="963">
                  <c:v>14.63</c:v>
                </c:pt>
                <c:pt idx="964">
                  <c:v>29.959999999999987</c:v>
                </c:pt>
                <c:pt idx="965">
                  <c:v>10.71</c:v>
                </c:pt>
                <c:pt idx="966">
                  <c:v>24.59</c:v>
                </c:pt>
                <c:pt idx="967">
                  <c:v>17.100000000000001</c:v>
                </c:pt>
                <c:pt idx="968">
                  <c:v>34.46</c:v>
                </c:pt>
                <c:pt idx="969">
                  <c:v>16.670000000000005</c:v>
                </c:pt>
                <c:pt idx="970">
                  <c:v>7.0000000000000021E-2</c:v>
                </c:pt>
                <c:pt idx="971">
                  <c:v>16</c:v>
                </c:pt>
                <c:pt idx="972">
                  <c:v>24.330000000000005</c:v>
                </c:pt>
                <c:pt idx="973">
                  <c:v>27.07</c:v>
                </c:pt>
                <c:pt idx="974">
                  <c:v>8.93</c:v>
                </c:pt>
                <c:pt idx="975">
                  <c:v>24.88</c:v>
                </c:pt>
                <c:pt idx="976">
                  <c:v>12.85000000000001</c:v>
                </c:pt>
                <c:pt idx="977">
                  <c:v>17.959999999999987</c:v>
                </c:pt>
                <c:pt idx="978">
                  <c:v>45.260000000000012</c:v>
                </c:pt>
                <c:pt idx="979">
                  <c:v>23.91</c:v>
                </c:pt>
                <c:pt idx="980">
                  <c:v>16.809999999999999</c:v>
                </c:pt>
                <c:pt idx="981">
                  <c:v>14.89</c:v>
                </c:pt>
                <c:pt idx="982">
                  <c:v>22.830000000000005</c:v>
                </c:pt>
                <c:pt idx="983">
                  <c:v>15.05</c:v>
                </c:pt>
                <c:pt idx="984">
                  <c:v>20.07</c:v>
                </c:pt>
                <c:pt idx="985">
                  <c:v>28.36</c:v>
                </c:pt>
                <c:pt idx="986">
                  <c:v>9.8800000000000008</c:v>
                </c:pt>
                <c:pt idx="987">
                  <c:v>24.85</c:v>
                </c:pt>
                <c:pt idx="988">
                  <c:v>11.76</c:v>
                </c:pt>
                <c:pt idx="989">
                  <c:v>26.05</c:v>
                </c:pt>
                <c:pt idx="990">
                  <c:v>20.77</c:v>
                </c:pt>
                <c:pt idx="991">
                  <c:v>34.620000000000012</c:v>
                </c:pt>
                <c:pt idx="992">
                  <c:v>27.71</c:v>
                </c:pt>
                <c:pt idx="993">
                  <c:v>22.5</c:v>
                </c:pt>
                <c:pt idx="994">
                  <c:v>33.160000000000011</c:v>
                </c:pt>
                <c:pt idx="995">
                  <c:v>16.02</c:v>
                </c:pt>
                <c:pt idx="996">
                  <c:v>25.14</c:v>
                </c:pt>
                <c:pt idx="997">
                  <c:v>17.37</c:v>
                </c:pt>
                <c:pt idx="998">
                  <c:v>47</c:v>
                </c:pt>
                <c:pt idx="999">
                  <c:v>31.72</c:v>
                </c:pt>
                <c:pt idx="1000">
                  <c:v>15.57</c:v>
                </c:pt>
                <c:pt idx="1001">
                  <c:v>3.0000000000000002E-2</c:v>
                </c:pt>
                <c:pt idx="1002">
                  <c:v>22.419999999999987</c:v>
                </c:pt>
                <c:pt idx="1003">
                  <c:v>37.97</c:v>
                </c:pt>
                <c:pt idx="1004">
                  <c:v>31.38</c:v>
                </c:pt>
                <c:pt idx="1005">
                  <c:v>29.830000000000005</c:v>
                </c:pt>
                <c:pt idx="1006">
                  <c:v>30.74</c:v>
                </c:pt>
                <c:pt idx="1007">
                  <c:v>42.160000000000011</c:v>
                </c:pt>
                <c:pt idx="1008">
                  <c:v>37.200000000000003</c:v>
                </c:pt>
                <c:pt idx="1009">
                  <c:v>46.55</c:v>
                </c:pt>
                <c:pt idx="1010">
                  <c:v>31.29</c:v>
                </c:pt>
                <c:pt idx="1011">
                  <c:v>25.64</c:v>
                </c:pt>
                <c:pt idx="1012">
                  <c:v>21.64</c:v>
                </c:pt>
                <c:pt idx="1013">
                  <c:v>4.08</c:v>
                </c:pt>
                <c:pt idx="1014">
                  <c:v>26.66</c:v>
                </c:pt>
                <c:pt idx="1015">
                  <c:v>25.85</c:v>
                </c:pt>
                <c:pt idx="1016">
                  <c:v>16.170000000000005</c:v>
                </c:pt>
                <c:pt idx="1017">
                  <c:v>16.87</c:v>
                </c:pt>
                <c:pt idx="1018">
                  <c:v>27.86</c:v>
                </c:pt>
                <c:pt idx="1019">
                  <c:v>16.13000000000002</c:v>
                </c:pt>
                <c:pt idx="1020">
                  <c:v>42.82</c:v>
                </c:pt>
                <c:pt idx="1021">
                  <c:v>13</c:v>
                </c:pt>
                <c:pt idx="1022">
                  <c:v>22.03</c:v>
                </c:pt>
                <c:pt idx="1023">
                  <c:v>42.15</c:v>
                </c:pt>
                <c:pt idx="1024">
                  <c:v>29.72</c:v>
                </c:pt>
                <c:pt idx="1025">
                  <c:v>4.8899999999999997</c:v>
                </c:pt>
                <c:pt idx="1026">
                  <c:v>49.09</c:v>
                </c:pt>
                <c:pt idx="1027">
                  <c:v>34.270000000000003</c:v>
                </c:pt>
                <c:pt idx="1028">
                  <c:v>41.43</c:v>
                </c:pt>
                <c:pt idx="1029">
                  <c:v>27.330000000000005</c:v>
                </c:pt>
                <c:pt idx="1030">
                  <c:v>40.050000000000004</c:v>
                </c:pt>
                <c:pt idx="1031">
                  <c:v>17.939999999999987</c:v>
                </c:pt>
                <c:pt idx="1032">
                  <c:v>19.37</c:v>
                </c:pt>
                <c:pt idx="1033">
                  <c:v>22.75</c:v>
                </c:pt>
                <c:pt idx="1034">
                  <c:v>14.27</c:v>
                </c:pt>
                <c:pt idx="1035">
                  <c:v>34.760000000000012</c:v>
                </c:pt>
                <c:pt idx="1036">
                  <c:v>34.950000000000003</c:v>
                </c:pt>
                <c:pt idx="1037">
                  <c:v>35.81</c:v>
                </c:pt>
                <c:pt idx="1038">
                  <c:v>14.73</c:v>
                </c:pt>
                <c:pt idx="1039">
                  <c:v>29.279999999999987</c:v>
                </c:pt>
                <c:pt idx="1040">
                  <c:v>27.81000000000002</c:v>
                </c:pt>
                <c:pt idx="1041">
                  <c:v>18.62</c:v>
                </c:pt>
                <c:pt idx="1042">
                  <c:v>30.16</c:v>
                </c:pt>
                <c:pt idx="1043">
                  <c:v>31.919999999999987</c:v>
                </c:pt>
                <c:pt idx="1044">
                  <c:v>24.54</c:v>
                </c:pt>
                <c:pt idx="1045">
                  <c:v>9.81</c:v>
                </c:pt>
                <c:pt idx="1046">
                  <c:v>39</c:v>
                </c:pt>
                <c:pt idx="1047">
                  <c:v>4.8599999999999985</c:v>
                </c:pt>
                <c:pt idx="1048">
                  <c:v>11.6</c:v>
                </c:pt>
                <c:pt idx="1049">
                  <c:v>22.59</c:v>
                </c:pt>
                <c:pt idx="1050">
                  <c:v>35.790000000000013</c:v>
                </c:pt>
                <c:pt idx="1051">
                  <c:v>9.9</c:v>
                </c:pt>
                <c:pt idx="1052">
                  <c:v>22.25</c:v>
                </c:pt>
                <c:pt idx="1053">
                  <c:v>28.259999999999987</c:v>
                </c:pt>
                <c:pt idx="1054">
                  <c:v>33.96</c:v>
                </c:pt>
                <c:pt idx="1055">
                  <c:v>26.459999999999987</c:v>
                </c:pt>
                <c:pt idx="1056">
                  <c:v>15.13</c:v>
                </c:pt>
                <c:pt idx="1057">
                  <c:v>15.43</c:v>
                </c:pt>
                <c:pt idx="1058">
                  <c:v>24.02</c:v>
                </c:pt>
                <c:pt idx="1059">
                  <c:v>24.14</c:v>
                </c:pt>
                <c:pt idx="1060">
                  <c:v>33.1</c:v>
                </c:pt>
                <c:pt idx="1061">
                  <c:v>22.07</c:v>
                </c:pt>
                <c:pt idx="1062">
                  <c:v>29.01</c:v>
                </c:pt>
                <c:pt idx="1063">
                  <c:v>30.08</c:v>
                </c:pt>
                <c:pt idx="1064">
                  <c:v>32.96</c:v>
                </c:pt>
                <c:pt idx="1065">
                  <c:v>15.88</c:v>
                </c:pt>
                <c:pt idx="1066">
                  <c:v>27.19</c:v>
                </c:pt>
                <c:pt idx="1067">
                  <c:v>38.340000000000003</c:v>
                </c:pt>
                <c:pt idx="1068">
                  <c:v>21.459999999999987</c:v>
                </c:pt>
                <c:pt idx="1069">
                  <c:v>27.87</c:v>
                </c:pt>
                <c:pt idx="1070">
                  <c:v>33.300000000000004</c:v>
                </c:pt>
                <c:pt idx="1071">
                  <c:v>27.66</c:v>
                </c:pt>
                <c:pt idx="1072">
                  <c:v>-3.18</c:v>
                </c:pt>
                <c:pt idx="1073">
                  <c:v>28.6</c:v>
                </c:pt>
                <c:pt idx="1074">
                  <c:v>31.72</c:v>
                </c:pt>
                <c:pt idx="1075">
                  <c:v>38.5</c:v>
                </c:pt>
                <c:pt idx="1076">
                  <c:v>12.94</c:v>
                </c:pt>
                <c:pt idx="1077">
                  <c:v>30</c:v>
                </c:pt>
                <c:pt idx="1078">
                  <c:v>32.68</c:v>
                </c:pt>
                <c:pt idx="1079">
                  <c:v>29.07</c:v>
                </c:pt>
                <c:pt idx="1080">
                  <c:v>0</c:v>
                </c:pt>
                <c:pt idx="1081">
                  <c:v>37.700000000000003</c:v>
                </c:pt>
                <c:pt idx="1082">
                  <c:v>26.41</c:v>
                </c:pt>
                <c:pt idx="1083">
                  <c:v>17.100000000000001</c:v>
                </c:pt>
                <c:pt idx="1084">
                  <c:v>25.79</c:v>
                </c:pt>
                <c:pt idx="1085">
                  <c:v>41.99</c:v>
                </c:pt>
                <c:pt idx="1086">
                  <c:v>24.71</c:v>
                </c:pt>
                <c:pt idx="1087">
                  <c:v>28.17</c:v>
                </c:pt>
                <c:pt idx="1088">
                  <c:v>29.02</c:v>
                </c:pt>
                <c:pt idx="1089">
                  <c:v>11.6</c:v>
                </c:pt>
                <c:pt idx="1090">
                  <c:v>32.07</c:v>
                </c:pt>
                <c:pt idx="1091">
                  <c:v>27.82</c:v>
                </c:pt>
                <c:pt idx="1092">
                  <c:v>25.07</c:v>
                </c:pt>
                <c:pt idx="1093">
                  <c:v>38.9</c:v>
                </c:pt>
                <c:pt idx="1094">
                  <c:v>38.47</c:v>
                </c:pt>
                <c:pt idx="1095">
                  <c:v>31.55</c:v>
                </c:pt>
                <c:pt idx="1096">
                  <c:v>28.06</c:v>
                </c:pt>
                <c:pt idx="1097">
                  <c:v>25.06</c:v>
                </c:pt>
                <c:pt idx="1098">
                  <c:v>1.0000000000000005E-2</c:v>
                </c:pt>
                <c:pt idx="1099">
                  <c:v>27.19</c:v>
                </c:pt>
                <c:pt idx="1100">
                  <c:v>24.88</c:v>
                </c:pt>
                <c:pt idx="1101">
                  <c:v>31.04</c:v>
                </c:pt>
                <c:pt idx="1102">
                  <c:v>32.96</c:v>
                </c:pt>
                <c:pt idx="1103">
                  <c:v>2.0000000000000011E-2</c:v>
                </c:pt>
                <c:pt idx="1104">
                  <c:v>21.63000000000002</c:v>
                </c:pt>
                <c:pt idx="1105">
                  <c:v>15.01</c:v>
                </c:pt>
                <c:pt idx="1106">
                  <c:v>-1.0000000000000005E-2</c:v>
                </c:pt>
                <c:pt idx="1107">
                  <c:v>35.25</c:v>
                </c:pt>
                <c:pt idx="1108">
                  <c:v>30.09</c:v>
                </c:pt>
                <c:pt idx="1109">
                  <c:v>24.15000000000002</c:v>
                </c:pt>
                <c:pt idx="1110">
                  <c:v>-4.0000000000000022E-2</c:v>
                </c:pt>
                <c:pt idx="1111">
                  <c:v>36.050000000000004</c:v>
                </c:pt>
                <c:pt idx="1112">
                  <c:v>24.14</c:v>
                </c:pt>
                <c:pt idx="1113">
                  <c:v>34.18</c:v>
                </c:pt>
                <c:pt idx="1114">
                  <c:v>33.82</c:v>
                </c:pt>
                <c:pt idx="1115">
                  <c:v>4.01</c:v>
                </c:pt>
                <c:pt idx="1116">
                  <c:v>11.71</c:v>
                </c:pt>
                <c:pt idx="1117">
                  <c:v>42.92</c:v>
                </c:pt>
                <c:pt idx="1118">
                  <c:v>29.18</c:v>
                </c:pt>
                <c:pt idx="1119">
                  <c:v>32.99</c:v>
                </c:pt>
                <c:pt idx="1120">
                  <c:v>46.49</c:v>
                </c:pt>
                <c:pt idx="1121">
                  <c:v>29.9</c:v>
                </c:pt>
                <c:pt idx="1122">
                  <c:v>14.04</c:v>
                </c:pt>
                <c:pt idx="1123">
                  <c:v>13.86000000000001</c:v>
                </c:pt>
                <c:pt idx="1124">
                  <c:v>26.17</c:v>
                </c:pt>
                <c:pt idx="1125">
                  <c:v>41.27</c:v>
                </c:pt>
                <c:pt idx="1126">
                  <c:v>24.34</c:v>
                </c:pt>
                <c:pt idx="1127">
                  <c:v>23.01</c:v>
                </c:pt>
                <c:pt idx="1128">
                  <c:v>31</c:v>
                </c:pt>
                <c:pt idx="1129">
                  <c:v>19.02</c:v>
                </c:pt>
                <c:pt idx="1130">
                  <c:v>17.98999999999997</c:v>
                </c:pt>
                <c:pt idx="1131">
                  <c:v>30.97</c:v>
                </c:pt>
                <c:pt idx="1132">
                  <c:v>37.94</c:v>
                </c:pt>
                <c:pt idx="1133">
                  <c:v>23.06</c:v>
                </c:pt>
                <c:pt idx="1134">
                  <c:v>22.74</c:v>
                </c:pt>
                <c:pt idx="1135">
                  <c:v>15.05</c:v>
                </c:pt>
                <c:pt idx="1136">
                  <c:v>31</c:v>
                </c:pt>
                <c:pt idx="1137">
                  <c:v>34.96</c:v>
                </c:pt>
                <c:pt idx="1138">
                  <c:v>34.03</c:v>
                </c:pt>
                <c:pt idx="1139">
                  <c:v>35.93</c:v>
                </c:pt>
                <c:pt idx="1140">
                  <c:v>30.959999999999987</c:v>
                </c:pt>
                <c:pt idx="1141">
                  <c:v>39.270000000000003</c:v>
                </c:pt>
                <c:pt idx="1142">
                  <c:v>27.32</c:v>
                </c:pt>
                <c:pt idx="1143">
                  <c:v>45.92</c:v>
                </c:pt>
                <c:pt idx="1144">
                  <c:v>25.04</c:v>
                </c:pt>
                <c:pt idx="1145">
                  <c:v>25.06</c:v>
                </c:pt>
                <c:pt idx="1146">
                  <c:v>31.5</c:v>
                </c:pt>
                <c:pt idx="1147">
                  <c:v>31.82</c:v>
                </c:pt>
                <c:pt idx="1148">
                  <c:v>16.190000000000001</c:v>
                </c:pt>
                <c:pt idx="1149">
                  <c:v>40.46</c:v>
                </c:pt>
                <c:pt idx="1150">
                  <c:v>24.919999999999987</c:v>
                </c:pt>
                <c:pt idx="1151">
                  <c:v>31.21</c:v>
                </c:pt>
                <c:pt idx="1152">
                  <c:v>31.95</c:v>
                </c:pt>
                <c:pt idx="1153">
                  <c:v>37.910000000000004</c:v>
                </c:pt>
                <c:pt idx="1154">
                  <c:v>26.439999999999987</c:v>
                </c:pt>
                <c:pt idx="1155">
                  <c:v>22.779999999999987</c:v>
                </c:pt>
                <c:pt idx="1156">
                  <c:v>35.46</c:v>
                </c:pt>
                <c:pt idx="1157">
                  <c:v>29.13000000000002</c:v>
                </c:pt>
                <c:pt idx="1158">
                  <c:v>36.300000000000004</c:v>
                </c:pt>
                <c:pt idx="1159">
                  <c:v>30.68</c:v>
                </c:pt>
                <c:pt idx="1160">
                  <c:v>26</c:v>
                </c:pt>
                <c:pt idx="1161">
                  <c:v>11.3</c:v>
                </c:pt>
                <c:pt idx="1162">
                  <c:v>23.25</c:v>
                </c:pt>
                <c:pt idx="1163">
                  <c:v>41.81</c:v>
                </c:pt>
                <c:pt idx="1164">
                  <c:v>26.979999999999986</c:v>
                </c:pt>
                <c:pt idx="1165">
                  <c:v>31</c:v>
                </c:pt>
                <c:pt idx="1166">
                  <c:v>16.279999999999987</c:v>
                </c:pt>
                <c:pt idx="1167">
                  <c:v>25.41</c:v>
                </c:pt>
                <c:pt idx="1168">
                  <c:v>47.44</c:v>
                </c:pt>
                <c:pt idx="1169">
                  <c:v>29.939999999999987</c:v>
                </c:pt>
                <c:pt idx="1170">
                  <c:v>32.730000000000011</c:v>
                </c:pt>
                <c:pt idx="1171">
                  <c:v>20.399999999999999</c:v>
                </c:pt>
                <c:pt idx="1172">
                  <c:v>32.96</c:v>
                </c:pt>
                <c:pt idx="1173">
                  <c:v>28.49</c:v>
                </c:pt>
                <c:pt idx="1174">
                  <c:v>-0.05</c:v>
                </c:pt>
                <c:pt idx="1175">
                  <c:v>12.64</c:v>
                </c:pt>
                <c:pt idx="1176">
                  <c:v>33.590000000000003</c:v>
                </c:pt>
                <c:pt idx="1177">
                  <c:v>21.74</c:v>
                </c:pt>
                <c:pt idx="1178">
                  <c:v>30</c:v>
                </c:pt>
                <c:pt idx="1179">
                  <c:v>22.95</c:v>
                </c:pt>
                <c:pt idx="1180">
                  <c:v>23.08</c:v>
                </c:pt>
                <c:pt idx="1181">
                  <c:v>23.93</c:v>
                </c:pt>
                <c:pt idx="1182">
                  <c:v>29.75</c:v>
                </c:pt>
                <c:pt idx="1183">
                  <c:v>22.89</c:v>
                </c:pt>
                <c:pt idx="1184">
                  <c:v>31.75</c:v>
                </c:pt>
                <c:pt idx="1185">
                  <c:v>15.65</c:v>
                </c:pt>
                <c:pt idx="1186">
                  <c:v>24.87</c:v>
                </c:pt>
                <c:pt idx="1187">
                  <c:v>30.02</c:v>
                </c:pt>
                <c:pt idx="1188">
                  <c:v>46.99</c:v>
                </c:pt>
                <c:pt idx="1189">
                  <c:v>35.04</c:v>
                </c:pt>
                <c:pt idx="1190">
                  <c:v>25.35</c:v>
                </c:pt>
                <c:pt idx="1191">
                  <c:v>30.01</c:v>
                </c:pt>
                <c:pt idx="1192">
                  <c:v>0.05</c:v>
                </c:pt>
                <c:pt idx="1193">
                  <c:v>11.48</c:v>
                </c:pt>
                <c:pt idx="1194">
                  <c:v>41.260000000000012</c:v>
                </c:pt>
                <c:pt idx="1195">
                  <c:v>22.12</c:v>
                </c:pt>
                <c:pt idx="1196">
                  <c:v>19.510000000000005</c:v>
                </c:pt>
                <c:pt idx="1197">
                  <c:v>11.5</c:v>
                </c:pt>
                <c:pt idx="1198">
                  <c:v>29.919999999999987</c:v>
                </c:pt>
                <c:pt idx="1199">
                  <c:v>15.08</c:v>
                </c:pt>
                <c:pt idx="1200">
                  <c:v>34</c:v>
                </c:pt>
                <c:pt idx="1201">
                  <c:v>46.94</c:v>
                </c:pt>
                <c:pt idx="1202">
                  <c:v>12.21</c:v>
                </c:pt>
                <c:pt idx="1203">
                  <c:v>8.25</c:v>
                </c:pt>
                <c:pt idx="1204">
                  <c:v>22.610000000000021</c:v>
                </c:pt>
                <c:pt idx="1205">
                  <c:v>26.1</c:v>
                </c:pt>
                <c:pt idx="1206">
                  <c:v>19.05</c:v>
                </c:pt>
                <c:pt idx="1207">
                  <c:v>17.72</c:v>
                </c:pt>
                <c:pt idx="1208">
                  <c:v>24.02</c:v>
                </c:pt>
                <c:pt idx="1209">
                  <c:v>-11.11</c:v>
                </c:pt>
                <c:pt idx="1210">
                  <c:v>30.06</c:v>
                </c:pt>
                <c:pt idx="1211">
                  <c:v>22.49</c:v>
                </c:pt>
                <c:pt idx="1212">
                  <c:v>27.02</c:v>
                </c:pt>
                <c:pt idx="1213">
                  <c:v>9.32</c:v>
                </c:pt>
                <c:pt idx="1214">
                  <c:v>33.28</c:v>
                </c:pt>
                <c:pt idx="1215">
                  <c:v>32.06</c:v>
                </c:pt>
                <c:pt idx="1216">
                  <c:v>25.02</c:v>
                </c:pt>
                <c:pt idx="1217">
                  <c:v>33.950000000000003</c:v>
                </c:pt>
                <c:pt idx="1218">
                  <c:v>22.110000000000021</c:v>
                </c:pt>
                <c:pt idx="1219">
                  <c:v>24.49</c:v>
                </c:pt>
                <c:pt idx="1220">
                  <c:v>26.5</c:v>
                </c:pt>
                <c:pt idx="1221">
                  <c:v>31.36</c:v>
                </c:pt>
                <c:pt idx="1222">
                  <c:v>29.15000000000002</c:v>
                </c:pt>
                <c:pt idx="1223">
                  <c:v>39.97</c:v>
                </c:pt>
                <c:pt idx="1224">
                  <c:v>35.870000000000005</c:v>
                </c:pt>
                <c:pt idx="1225">
                  <c:v>19.899999999999999</c:v>
                </c:pt>
                <c:pt idx="1226">
                  <c:v>23.04</c:v>
                </c:pt>
                <c:pt idx="1227">
                  <c:v>1.1499999999999986</c:v>
                </c:pt>
                <c:pt idx="1228">
                  <c:v>22.05</c:v>
                </c:pt>
                <c:pt idx="1229">
                  <c:v>4.4400000000000004</c:v>
                </c:pt>
                <c:pt idx="1230">
                  <c:v>41.730000000000011</c:v>
                </c:pt>
                <c:pt idx="1231">
                  <c:v>12.11</c:v>
                </c:pt>
                <c:pt idx="1232">
                  <c:v>29.01</c:v>
                </c:pt>
                <c:pt idx="1233">
                  <c:v>29.91</c:v>
                </c:pt>
                <c:pt idx="1234">
                  <c:v>25.08</c:v>
                </c:pt>
                <c:pt idx="1235">
                  <c:v>26.32</c:v>
                </c:pt>
                <c:pt idx="1236">
                  <c:v>14.08</c:v>
                </c:pt>
                <c:pt idx="1237">
                  <c:v>23.99</c:v>
                </c:pt>
                <c:pt idx="1238">
                  <c:v>29.68</c:v>
                </c:pt>
                <c:pt idx="1239">
                  <c:v>14.950000000000006</c:v>
                </c:pt>
                <c:pt idx="1240">
                  <c:v>23.04</c:v>
                </c:pt>
                <c:pt idx="1241">
                  <c:v>30.69</c:v>
                </c:pt>
                <c:pt idx="1242">
                  <c:v>15.1</c:v>
                </c:pt>
                <c:pt idx="1243">
                  <c:v>-11.41</c:v>
                </c:pt>
                <c:pt idx="1244">
                  <c:v>29.330000000000005</c:v>
                </c:pt>
                <c:pt idx="1245">
                  <c:v>26.67</c:v>
                </c:pt>
                <c:pt idx="1246">
                  <c:v>23.71</c:v>
                </c:pt>
                <c:pt idx="1247">
                  <c:v>29.330000000000005</c:v>
                </c:pt>
                <c:pt idx="1248">
                  <c:v>-14.16</c:v>
                </c:pt>
                <c:pt idx="1249">
                  <c:v>26.08</c:v>
                </c:pt>
                <c:pt idx="1250">
                  <c:v>26.88</c:v>
                </c:pt>
                <c:pt idx="1251">
                  <c:v>35.130000000000003</c:v>
                </c:pt>
                <c:pt idx="1252">
                  <c:v>11.450000000000006</c:v>
                </c:pt>
                <c:pt idx="1253">
                  <c:v>38.910000000000004</c:v>
                </c:pt>
                <c:pt idx="1254">
                  <c:v>22.18</c:v>
                </c:pt>
                <c:pt idx="1255">
                  <c:v>34.04</c:v>
                </c:pt>
                <c:pt idx="1256">
                  <c:v>43.44</c:v>
                </c:pt>
                <c:pt idx="1257">
                  <c:v>27.4</c:v>
                </c:pt>
                <c:pt idx="1258">
                  <c:v>19</c:v>
                </c:pt>
                <c:pt idx="1259">
                  <c:v>39.71</c:v>
                </c:pt>
                <c:pt idx="1260">
                  <c:v>34.370000000000005</c:v>
                </c:pt>
                <c:pt idx="1261">
                  <c:v>34.760000000000012</c:v>
                </c:pt>
                <c:pt idx="1262">
                  <c:v>17.829999999999988</c:v>
                </c:pt>
                <c:pt idx="1263">
                  <c:v>27.05</c:v>
                </c:pt>
                <c:pt idx="1264">
                  <c:v>30.67</c:v>
                </c:pt>
                <c:pt idx="1265">
                  <c:v>15</c:v>
                </c:pt>
                <c:pt idx="1266">
                  <c:v>30.06</c:v>
                </c:pt>
                <c:pt idx="1267">
                  <c:v>37.06</c:v>
                </c:pt>
                <c:pt idx="1268">
                  <c:v>26.6</c:v>
                </c:pt>
                <c:pt idx="1269">
                  <c:v>16.29</c:v>
                </c:pt>
                <c:pt idx="1270">
                  <c:v>36.590000000000003</c:v>
                </c:pt>
                <c:pt idx="1271">
                  <c:v>24.32</c:v>
                </c:pt>
                <c:pt idx="1272">
                  <c:v>14.92</c:v>
                </c:pt>
                <c:pt idx="1273">
                  <c:v>19.04</c:v>
                </c:pt>
                <c:pt idx="1274">
                  <c:v>38.94</c:v>
                </c:pt>
                <c:pt idx="1275">
                  <c:v>23.9</c:v>
                </c:pt>
                <c:pt idx="1276">
                  <c:v>43.68</c:v>
                </c:pt>
                <c:pt idx="1277">
                  <c:v>21.51</c:v>
                </c:pt>
                <c:pt idx="1278">
                  <c:v>14.93</c:v>
                </c:pt>
                <c:pt idx="1279">
                  <c:v>25.08</c:v>
                </c:pt>
                <c:pt idx="1280">
                  <c:v>29.67</c:v>
                </c:pt>
                <c:pt idx="1281">
                  <c:v>31.01</c:v>
                </c:pt>
                <c:pt idx="1282">
                  <c:v>-14.47</c:v>
                </c:pt>
                <c:pt idx="1283">
                  <c:v>-5.4</c:v>
                </c:pt>
                <c:pt idx="1284">
                  <c:v>17.59</c:v>
                </c:pt>
                <c:pt idx="1285">
                  <c:v>31.41</c:v>
                </c:pt>
                <c:pt idx="1286">
                  <c:v>38.58</c:v>
                </c:pt>
                <c:pt idx="1287">
                  <c:v>24</c:v>
                </c:pt>
                <c:pt idx="1288">
                  <c:v>42.04</c:v>
                </c:pt>
                <c:pt idx="1289">
                  <c:v>24.8</c:v>
                </c:pt>
                <c:pt idx="1290">
                  <c:v>22.73</c:v>
                </c:pt>
                <c:pt idx="1291">
                  <c:v>46.42</c:v>
                </c:pt>
                <c:pt idx="1292">
                  <c:v>29.24</c:v>
                </c:pt>
                <c:pt idx="1293">
                  <c:v>14.27</c:v>
                </c:pt>
                <c:pt idx="1294">
                  <c:v>23.99</c:v>
                </c:pt>
                <c:pt idx="1295">
                  <c:v>38.270000000000003</c:v>
                </c:pt>
                <c:pt idx="1296">
                  <c:v>16.100000000000001</c:v>
                </c:pt>
                <c:pt idx="1297">
                  <c:v>27.17</c:v>
                </c:pt>
                <c:pt idx="1298">
                  <c:v>24.95</c:v>
                </c:pt>
                <c:pt idx="1299">
                  <c:v>16.149999999999999</c:v>
                </c:pt>
                <c:pt idx="1300">
                  <c:v>43.67</c:v>
                </c:pt>
                <c:pt idx="1301">
                  <c:v>33.94</c:v>
                </c:pt>
                <c:pt idx="1302">
                  <c:v>28.36</c:v>
                </c:pt>
                <c:pt idx="1303">
                  <c:v>12.93</c:v>
                </c:pt>
                <c:pt idx="1304">
                  <c:v>35.700000000000003</c:v>
                </c:pt>
                <c:pt idx="1305">
                  <c:v>37.730000000000011</c:v>
                </c:pt>
                <c:pt idx="1306">
                  <c:v>24.69</c:v>
                </c:pt>
                <c:pt idx="1307">
                  <c:v>22.439999999999987</c:v>
                </c:pt>
                <c:pt idx="1308">
                  <c:v>31.51</c:v>
                </c:pt>
                <c:pt idx="1309">
                  <c:v>23.87</c:v>
                </c:pt>
                <c:pt idx="1310">
                  <c:v>18.59</c:v>
                </c:pt>
                <c:pt idx="1311">
                  <c:v>16.110000000000021</c:v>
                </c:pt>
                <c:pt idx="1312">
                  <c:v>30.05</c:v>
                </c:pt>
                <c:pt idx="1313">
                  <c:v>25.93</c:v>
                </c:pt>
                <c:pt idx="1314">
                  <c:v>21.97</c:v>
                </c:pt>
                <c:pt idx="1315">
                  <c:v>24.67</c:v>
                </c:pt>
                <c:pt idx="1316">
                  <c:v>27.6</c:v>
                </c:pt>
                <c:pt idx="1317">
                  <c:v>39.11</c:v>
                </c:pt>
                <c:pt idx="1318">
                  <c:v>16.09</c:v>
                </c:pt>
                <c:pt idx="1319">
                  <c:v>20.72</c:v>
                </c:pt>
                <c:pt idx="1320">
                  <c:v>25.73</c:v>
                </c:pt>
                <c:pt idx="1321">
                  <c:v>24.6</c:v>
                </c:pt>
                <c:pt idx="1322">
                  <c:v>14.31</c:v>
                </c:pt>
                <c:pt idx="1323">
                  <c:v>31.12</c:v>
                </c:pt>
                <c:pt idx="1324">
                  <c:v>25.99</c:v>
                </c:pt>
                <c:pt idx="1325">
                  <c:v>23.43</c:v>
                </c:pt>
                <c:pt idx="1326">
                  <c:v>30.75</c:v>
                </c:pt>
                <c:pt idx="1327">
                  <c:v>23.01</c:v>
                </c:pt>
                <c:pt idx="1328">
                  <c:v>9.620000000000001</c:v>
                </c:pt>
                <c:pt idx="1329">
                  <c:v>15.44</c:v>
                </c:pt>
                <c:pt idx="1330">
                  <c:v>-5.13</c:v>
                </c:pt>
                <c:pt idx="1331">
                  <c:v>44.67</c:v>
                </c:pt>
                <c:pt idx="1332">
                  <c:v>23.06</c:v>
                </c:pt>
                <c:pt idx="1333">
                  <c:v>16.18</c:v>
                </c:pt>
                <c:pt idx="1334">
                  <c:v>10.6</c:v>
                </c:pt>
                <c:pt idx="1335">
                  <c:v>25.27</c:v>
                </c:pt>
                <c:pt idx="1336">
                  <c:v>38.950000000000003</c:v>
                </c:pt>
                <c:pt idx="1337">
                  <c:v>15.27</c:v>
                </c:pt>
                <c:pt idx="1338">
                  <c:v>21.18</c:v>
                </c:pt>
                <c:pt idx="1339">
                  <c:v>33.82</c:v>
                </c:pt>
                <c:pt idx="1340">
                  <c:v>36.800000000000004</c:v>
                </c:pt>
                <c:pt idx="1341">
                  <c:v>25.19</c:v>
                </c:pt>
                <c:pt idx="1342">
                  <c:v>26.06</c:v>
                </c:pt>
                <c:pt idx="1343">
                  <c:v>24.06</c:v>
                </c:pt>
                <c:pt idx="1344">
                  <c:v>23.24</c:v>
                </c:pt>
                <c:pt idx="1345">
                  <c:v>14.68</c:v>
                </c:pt>
                <c:pt idx="1346">
                  <c:v>33.11</c:v>
                </c:pt>
                <c:pt idx="1347">
                  <c:v>36.49</c:v>
                </c:pt>
                <c:pt idx="1348">
                  <c:v>46.44</c:v>
                </c:pt>
                <c:pt idx="1349">
                  <c:v>17.91</c:v>
                </c:pt>
                <c:pt idx="1350">
                  <c:v>12.84</c:v>
                </c:pt>
                <c:pt idx="1351">
                  <c:v>32.630000000000003</c:v>
                </c:pt>
                <c:pt idx="1352">
                  <c:v>16.13000000000002</c:v>
                </c:pt>
                <c:pt idx="1353">
                  <c:v>18.36</c:v>
                </c:pt>
                <c:pt idx="1354">
                  <c:v>15.42</c:v>
                </c:pt>
                <c:pt idx="1355">
                  <c:v>40.98</c:v>
                </c:pt>
                <c:pt idx="1356">
                  <c:v>25.21</c:v>
                </c:pt>
                <c:pt idx="1357">
                  <c:v>32.520000000000003</c:v>
                </c:pt>
                <c:pt idx="1358">
                  <c:v>-9.11</c:v>
                </c:pt>
                <c:pt idx="1359">
                  <c:v>44.91</c:v>
                </c:pt>
                <c:pt idx="1360">
                  <c:v>26.01</c:v>
                </c:pt>
                <c:pt idx="1361">
                  <c:v>17.04</c:v>
                </c:pt>
                <c:pt idx="1362">
                  <c:v>25.04</c:v>
                </c:pt>
                <c:pt idx="1363">
                  <c:v>11.18</c:v>
                </c:pt>
                <c:pt idx="1364">
                  <c:v>16.420000000000002</c:v>
                </c:pt>
                <c:pt idx="1365">
                  <c:v>27.01</c:v>
                </c:pt>
                <c:pt idx="1366">
                  <c:v>26.62</c:v>
                </c:pt>
                <c:pt idx="1367">
                  <c:v>44.5</c:v>
                </c:pt>
                <c:pt idx="1368">
                  <c:v>31.57</c:v>
                </c:pt>
                <c:pt idx="1369">
                  <c:v>-16.779999999999987</c:v>
                </c:pt>
                <c:pt idx="1370">
                  <c:v>37.71</c:v>
                </c:pt>
                <c:pt idx="1371">
                  <c:v>13.950000000000006</c:v>
                </c:pt>
                <c:pt idx="1372">
                  <c:v>41.81</c:v>
                </c:pt>
                <c:pt idx="1373">
                  <c:v>38.75</c:v>
                </c:pt>
                <c:pt idx="1374">
                  <c:v>13.63</c:v>
                </c:pt>
                <c:pt idx="1375">
                  <c:v>30.63000000000002</c:v>
                </c:pt>
                <c:pt idx="1376">
                  <c:v>30.54</c:v>
                </c:pt>
                <c:pt idx="1377">
                  <c:v>13.11</c:v>
                </c:pt>
                <c:pt idx="1378">
                  <c:v>35.08</c:v>
                </c:pt>
                <c:pt idx="1379">
                  <c:v>38.020000000000003</c:v>
                </c:pt>
                <c:pt idx="1380">
                  <c:v>26.39</c:v>
                </c:pt>
                <c:pt idx="1381">
                  <c:v>17.600000000000001</c:v>
                </c:pt>
                <c:pt idx="1382">
                  <c:v>-5.81</c:v>
                </c:pt>
                <c:pt idx="1383">
                  <c:v>28.81000000000002</c:v>
                </c:pt>
                <c:pt idx="1384">
                  <c:v>29</c:v>
                </c:pt>
                <c:pt idx="1385">
                  <c:v>41.97</c:v>
                </c:pt>
                <c:pt idx="1386">
                  <c:v>38.220000000000013</c:v>
                </c:pt>
                <c:pt idx="1387">
                  <c:v>11.21</c:v>
                </c:pt>
                <c:pt idx="1388">
                  <c:v>40.94</c:v>
                </c:pt>
                <c:pt idx="1389">
                  <c:v>11.54</c:v>
                </c:pt>
                <c:pt idx="1390">
                  <c:v>28.919999999999987</c:v>
                </c:pt>
                <c:pt idx="1391">
                  <c:v>19.350000000000001</c:v>
                </c:pt>
                <c:pt idx="1392">
                  <c:v>25.16</c:v>
                </c:pt>
                <c:pt idx="1393">
                  <c:v>12.28</c:v>
                </c:pt>
                <c:pt idx="1394">
                  <c:v>27.12</c:v>
                </c:pt>
                <c:pt idx="1395">
                  <c:v>10.040000000000001</c:v>
                </c:pt>
                <c:pt idx="1396">
                  <c:v>30.97</c:v>
                </c:pt>
                <c:pt idx="1397">
                  <c:v>32.190000000000012</c:v>
                </c:pt>
                <c:pt idx="1398">
                  <c:v>24.09</c:v>
                </c:pt>
                <c:pt idx="1399">
                  <c:v>38.35</c:v>
                </c:pt>
                <c:pt idx="1400">
                  <c:v>23.979999999999986</c:v>
                </c:pt>
                <c:pt idx="1401">
                  <c:v>25.67</c:v>
                </c:pt>
                <c:pt idx="1402">
                  <c:v>24.02</c:v>
                </c:pt>
                <c:pt idx="1403">
                  <c:v>32.81</c:v>
                </c:pt>
                <c:pt idx="1404">
                  <c:v>7.99</c:v>
                </c:pt>
                <c:pt idx="1405">
                  <c:v>28.419999999999987</c:v>
                </c:pt>
                <c:pt idx="1406">
                  <c:v>-8.0000000000000043E-2</c:v>
                </c:pt>
                <c:pt idx="1407">
                  <c:v>28.15000000000002</c:v>
                </c:pt>
                <c:pt idx="1408">
                  <c:v>16.260000000000002</c:v>
                </c:pt>
                <c:pt idx="1409">
                  <c:v>26.99</c:v>
                </c:pt>
                <c:pt idx="1410">
                  <c:v>30.03</c:v>
                </c:pt>
                <c:pt idx="1411">
                  <c:v>34.450000000000003</c:v>
                </c:pt>
                <c:pt idx="1412">
                  <c:v>23.22</c:v>
                </c:pt>
                <c:pt idx="1413">
                  <c:v>32.47</c:v>
                </c:pt>
                <c:pt idx="1414">
                  <c:v>24.02</c:v>
                </c:pt>
                <c:pt idx="1415">
                  <c:v>32.800000000000004</c:v>
                </c:pt>
                <c:pt idx="1416">
                  <c:v>36.92</c:v>
                </c:pt>
                <c:pt idx="1417">
                  <c:v>20.09</c:v>
                </c:pt>
                <c:pt idx="1418">
                  <c:v>40.01</c:v>
                </c:pt>
                <c:pt idx="1419">
                  <c:v>24.65000000000002</c:v>
                </c:pt>
                <c:pt idx="1420">
                  <c:v>31.24</c:v>
                </c:pt>
                <c:pt idx="1421">
                  <c:v>29.18</c:v>
                </c:pt>
                <c:pt idx="1422">
                  <c:v>35.44</c:v>
                </c:pt>
                <c:pt idx="1423">
                  <c:v>30</c:v>
                </c:pt>
                <c:pt idx="1424">
                  <c:v>36.6</c:v>
                </c:pt>
                <c:pt idx="1425">
                  <c:v>34.880000000000003</c:v>
                </c:pt>
                <c:pt idx="1426">
                  <c:v>-4.8499999999999996</c:v>
                </c:pt>
                <c:pt idx="1427">
                  <c:v>15.96</c:v>
                </c:pt>
                <c:pt idx="1428">
                  <c:v>38.71</c:v>
                </c:pt>
                <c:pt idx="1429">
                  <c:v>22.06</c:v>
                </c:pt>
                <c:pt idx="1430">
                  <c:v>21.79</c:v>
                </c:pt>
                <c:pt idx="1431">
                  <c:v>13.39</c:v>
                </c:pt>
                <c:pt idx="1432">
                  <c:v>27.03</c:v>
                </c:pt>
                <c:pt idx="1433">
                  <c:v>-10.31</c:v>
                </c:pt>
                <c:pt idx="1434">
                  <c:v>5.28</c:v>
                </c:pt>
                <c:pt idx="1435">
                  <c:v>30</c:v>
                </c:pt>
                <c:pt idx="1436">
                  <c:v>23.759999999999987</c:v>
                </c:pt>
                <c:pt idx="1437">
                  <c:v>16.779999999999987</c:v>
                </c:pt>
                <c:pt idx="1438">
                  <c:v>27.6</c:v>
                </c:pt>
                <c:pt idx="1439">
                  <c:v>14.49</c:v>
                </c:pt>
                <c:pt idx="1440">
                  <c:v>26.75</c:v>
                </c:pt>
                <c:pt idx="1441">
                  <c:v>20.09</c:v>
                </c:pt>
                <c:pt idx="1442">
                  <c:v>43.290000000000013</c:v>
                </c:pt>
                <c:pt idx="1443">
                  <c:v>22.58</c:v>
                </c:pt>
                <c:pt idx="1444">
                  <c:v>26.830000000000005</c:v>
                </c:pt>
                <c:pt idx="1445">
                  <c:v>24.17</c:v>
                </c:pt>
                <c:pt idx="1446">
                  <c:v>13.91</c:v>
                </c:pt>
                <c:pt idx="1447">
                  <c:v>28.25</c:v>
                </c:pt>
                <c:pt idx="1448">
                  <c:v>30.959999999999987</c:v>
                </c:pt>
                <c:pt idx="1449">
                  <c:v>42.92</c:v>
                </c:pt>
                <c:pt idx="1450">
                  <c:v>10.55</c:v>
                </c:pt>
                <c:pt idx="1451">
                  <c:v>39.06</c:v>
                </c:pt>
                <c:pt idx="1452">
                  <c:v>14.51</c:v>
                </c:pt>
                <c:pt idx="1453">
                  <c:v>13.42</c:v>
                </c:pt>
                <c:pt idx="1454">
                  <c:v>37.870000000000005</c:v>
                </c:pt>
                <c:pt idx="1455">
                  <c:v>47.65</c:v>
                </c:pt>
                <c:pt idx="1456">
                  <c:v>21.72</c:v>
                </c:pt>
                <c:pt idx="1457">
                  <c:v>18.239999999999988</c:v>
                </c:pt>
                <c:pt idx="1458">
                  <c:v>30.86</c:v>
                </c:pt>
                <c:pt idx="1459">
                  <c:v>25.77</c:v>
                </c:pt>
                <c:pt idx="1460">
                  <c:v>16.010000000000005</c:v>
                </c:pt>
                <c:pt idx="1461">
                  <c:v>21.06</c:v>
                </c:pt>
                <c:pt idx="1462">
                  <c:v>21.02</c:v>
                </c:pt>
                <c:pt idx="1463">
                  <c:v>16.84</c:v>
                </c:pt>
                <c:pt idx="1464">
                  <c:v>23.09</c:v>
                </c:pt>
                <c:pt idx="1465">
                  <c:v>30.02</c:v>
                </c:pt>
                <c:pt idx="1466">
                  <c:v>45.230000000000011</c:v>
                </c:pt>
                <c:pt idx="1467">
                  <c:v>9.89</c:v>
                </c:pt>
                <c:pt idx="1468">
                  <c:v>34.93</c:v>
                </c:pt>
                <c:pt idx="1469">
                  <c:v>23.09</c:v>
                </c:pt>
                <c:pt idx="1470">
                  <c:v>26.29</c:v>
                </c:pt>
                <c:pt idx="1471">
                  <c:v>26.34</c:v>
                </c:pt>
                <c:pt idx="1472">
                  <c:v>22.52</c:v>
                </c:pt>
                <c:pt idx="1473">
                  <c:v>29.13000000000002</c:v>
                </c:pt>
                <c:pt idx="1474">
                  <c:v>29.959999999999987</c:v>
                </c:pt>
                <c:pt idx="1475">
                  <c:v>9.77</c:v>
                </c:pt>
                <c:pt idx="1476">
                  <c:v>30.09</c:v>
                </c:pt>
                <c:pt idx="1477">
                  <c:v>47.48</c:v>
                </c:pt>
                <c:pt idx="1478">
                  <c:v>37.71</c:v>
                </c:pt>
                <c:pt idx="1479">
                  <c:v>23.939999999999987</c:v>
                </c:pt>
                <c:pt idx="1480">
                  <c:v>23.12</c:v>
                </c:pt>
                <c:pt idx="1481">
                  <c:v>25.419999999999987</c:v>
                </c:pt>
                <c:pt idx="1482">
                  <c:v>29.6</c:v>
                </c:pt>
                <c:pt idx="1483">
                  <c:v>12.86000000000001</c:v>
                </c:pt>
                <c:pt idx="1484">
                  <c:v>24.31000000000002</c:v>
                </c:pt>
                <c:pt idx="1485">
                  <c:v>12.01</c:v>
                </c:pt>
                <c:pt idx="1486">
                  <c:v>18.04</c:v>
                </c:pt>
                <c:pt idx="1487">
                  <c:v>13.9</c:v>
                </c:pt>
                <c:pt idx="1488">
                  <c:v>11.72</c:v>
                </c:pt>
                <c:pt idx="1489">
                  <c:v>15.1</c:v>
                </c:pt>
                <c:pt idx="1490">
                  <c:v>14.49</c:v>
                </c:pt>
                <c:pt idx="1491">
                  <c:v>21.979999999999986</c:v>
                </c:pt>
                <c:pt idx="1492">
                  <c:v>16.52</c:v>
                </c:pt>
                <c:pt idx="1493">
                  <c:v>21.63000000000002</c:v>
                </c:pt>
                <c:pt idx="1494">
                  <c:v>45.88</c:v>
                </c:pt>
                <c:pt idx="1495">
                  <c:v>14.53</c:v>
                </c:pt>
                <c:pt idx="1496">
                  <c:v>12.44</c:v>
                </c:pt>
                <c:pt idx="1497">
                  <c:v>11.56</c:v>
                </c:pt>
                <c:pt idx="1498">
                  <c:v>34.660000000000011</c:v>
                </c:pt>
                <c:pt idx="1499">
                  <c:v>27.93</c:v>
                </c:pt>
                <c:pt idx="1500">
                  <c:v>32.620000000000012</c:v>
                </c:pt>
                <c:pt idx="1501">
                  <c:v>33.82</c:v>
                </c:pt>
                <c:pt idx="1502">
                  <c:v>12.4</c:v>
                </c:pt>
                <c:pt idx="1503">
                  <c:v>9.8500000000000068</c:v>
                </c:pt>
                <c:pt idx="1504">
                  <c:v>30.279999999999987</c:v>
                </c:pt>
                <c:pt idx="1505">
                  <c:v>17.07</c:v>
                </c:pt>
                <c:pt idx="1506">
                  <c:v>24.39</c:v>
                </c:pt>
                <c:pt idx="1507">
                  <c:v>26.51</c:v>
                </c:pt>
                <c:pt idx="1508">
                  <c:v>26.610000000000021</c:v>
                </c:pt>
                <c:pt idx="1509">
                  <c:v>25.24</c:v>
                </c:pt>
                <c:pt idx="1510">
                  <c:v>35.220000000000013</c:v>
                </c:pt>
                <c:pt idx="1511">
                  <c:v>25.07</c:v>
                </c:pt>
                <c:pt idx="1512">
                  <c:v>38.980000000000004</c:v>
                </c:pt>
                <c:pt idx="1513">
                  <c:v>7.92</c:v>
                </c:pt>
                <c:pt idx="1514">
                  <c:v>19.02</c:v>
                </c:pt>
                <c:pt idx="1515">
                  <c:v>37.090000000000003</c:v>
                </c:pt>
                <c:pt idx="1516">
                  <c:v>14.35000000000001</c:v>
                </c:pt>
                <c:pt idx="1517">
                  <c:v>18.149999999999999</c:v>
                </c:pt>
                <c:pt idx="1518">
                  <c:v>20.18</c:v>
                </c:pt>
                <c:pt idx="1519">
                  <c:v>13.25</c:v>
                </c:pt>
                <c:pt idx="1520">
                  <c:v>25.16</c:v>
                </c:pt>
                <c:pt idx="1521">
                  <c:v>29.22</c:v>
                </c:pt>
                <c:pt idx="1522">
                  <c:v>8.1</c:v>
                </c:pt>
                <c:pt idx="1523">
                  <c:v>17.53</c:v>
                </c:pt>
                <c:pt idx="1524">
                  <c:v>18.2</c:v>
                </c:pt>
                <c:pt idx="1525">
                  <c:v>26.75</c:v>
                </c:pt>
                <c:pt idx="1526">
                  <c:v>34.68</c:v>
                </c:pt>
                <c:pt idx="1527">
                  <c:v>24.74</c:v>
                </c:pt>
                <c:pt idx="1528">
                  <c:v>21.88</c:v>
                </c:pt>
                <c:pt idx="1529">
                  <c:v>12.6</c:v>
                </c:pt>
                <c:pt idx="1530">
                  <c:v>38.120000000000012</c:v>
                </c:pt>
                <c:pt idx="1531">
                  <c:v>26.18</c:v>
                </c:pt>
                <c:pt idx="1532">
                  <c:v>29.93</c:v>
                </c:pt>
                <c:pt idx="1533">
                  <c:v>30.75</c:v>
                </c:pt>
                <c:pt idx="1534">
                  <c:v>27.7</c:v>
                </c:pt>
                <c:pt idx="1535">
                  <c:v>33.620000000000012</c:v>
                </c:pt>
                <c:pt idx="1536">
                  <c:v>30.27</c:v>
                </c:pt>
                <c:pt idx="1537">
                  <c:v>33.85</c:v>
                </c:pt>
                <c:pt idx="1538">
                  <c:v>21.919999999999987</c:v>
                </c:pt>
                <c:pt idx="1539">
                  <c:v>13.02</c:v>
                </c:pt>
                <c:pt idx="1540">
                  <c:v>35.93</c:v>
                </c:pt>
                <c:pt idx="1541">
                  <c:v>14.950000000000006</c:v>
                </c:pt>
                <c:pt idx="1542">
                  <c:v>14.98</c:v>
                </c:pt>
                <c:pt idx="1543">
                  <c:v>29.14</c:v>
                </c:pt>
                <c:pt idx="1544">
                  <c:v>35.220000000000013</c:v>
                </c:pt>
                <c:pt idx="1545">
                  <c:v>41.2</c:v>
                </c:pt>
                <c:pt idx="1546">
                  <c:v>14.56</c:v>
                </c:pt>
                <c:pt idx="1547">
                  <c:v>37.980000000000004</c:v>
                </c:pt>
                <c:pt idx="1548">
                  <c:v>35.78</c:v>
                </c:pt>
                <c:pt idx="1549">
                  <c:v>34.96</c:v>
                </c:pt>
                <c:pt idx="1550">
                  <c:v>16.22</c:v>
                </c:pt>
                <c:pt idx="1551">
                  <c:v>30.01</c:v>
                </c:pt>
                <c:pt idx="1552">
                  <c:v>16.95</c:v>
                </c:pt>
                <c:pt idx="1553">
                  <c:v>16.610000000000021</c:v>
                </c:pt>
                <c:pt idx="1554">
                  <c:v>7.75</c:v>
                </c:pt>
                <c:pt idx="1555">
                  <c:v>28.12</c:v>
                </c:pt>
                <c:pt idx="1556">
                  <c:v>23.110000000000021</c:v>
                </c:pt>
                <c:pt idx="1557">
                  <c:v>16.309999999999999</c:v>
                </c:pt>
                <c:pt idx="1558">
                  <c:v>22.13000000000002</c:v>
                </c:pt>
                <c:pt idx="1559">
                  <c:v>21.919999999999987</c:v>
                </c:pt>
                <c:pt idx="1560">
                  <c:v>41.160000000000011</c:v>
                </c:pt>
                <c:pt idx="1561">
                  <c:v>26.17</c:v>
                </c:pt>
                <c:pt idx="1562">
                  <c:v>18.920000000000002</c:v>
                </c:pt>
                <c:pt idx="1563">
                  <c:v>25.49</c:v>
                </c:pt>
                <c:pt idx="1564">
                  <c:v>15.47</c:v>
                </c:pt>
                <c:pt idx="1565">
                  <c:v>21.37</c:v>
                </c:pt>
                <c:pt idx="1566">
                  <c:v>26.54</c:v>
                </c:pt>
                <c:pt idx="1567">
                  <c:v>38.230000000000011</c:v>
                </c:pt>
                <c:pt idx="1568">
                  <c:v>39.94</c:v>
                </c:pt>
                <c:pt idx="1569">
                  <c:v>25.74</c:v>
                </c:pt>
                <c:pt idx="1570">
                  <c:v>35.340000000000003</c:v>
                </c:pt>
                <c:pt idx="1571">
                  <c:v>10.54</c:v>
                </c:pt>
                <c:pt idx="1572">
                  <c:v>26.18</c:v>
                </c:pt>
                <c:pt idx="1573">
                  <c:v>23.259999999999987</c:v>
                </c:pt>
                <c:pt idx="1574">
                  <c:v>29.18</c:v>
                </c:pt>
                <c:pt idx="1575">
                  <c:v>15.16</c:v>
                </c:pt>
                <c:pt idx="1576">
                  <c:v>26.36</c:v>
                </c:pt>
                <c:pt idx="1577">
                  <c:v>33.01</c:v>
                </c:pt>
                <c:pt idx="1578">
                  <c:v>1.6600000000000001</c:v>
                </c:pt>
                <c:pt idx="1579">
                  <c:v>39.36</c:v>
                </c:pt>
                <c:pt idx="1580">
                  <c:v>29.55</c:v>
                </c:pt>
                <c:pt idx="1581">
                  <c:v>34.51</c:v>
                </c:pt>
                <c:pt idx="1582">
                  <c:v>27.95</c:v>
                </c:pt>
                <c:pt idx="1583">
                  <c:v>18</c:v>
                </c:pt>
                <c:pt idx="1584">
                  <c:v>16.89</c:v>
                </c:pt>
                <c:pt idx="1585">
                  <c:v>18.059999999999999</c:v>
                </c:pt>
                <c:pt idx="1586">
                  <c:v>30.38</c:v>
                </c:pt>
                <c:pt idx="1587">
                  <c:v>32.300000000000004</c:v>
                </c:pt>
                <c:pt idx="1588">
                  <c:v>27.17</c:v>
                </c:pt>
                <c:pt idx="1589">
                  <c:v>24.919999999999987</c:v>
                </c:pt>
                <c:pt idx="1590">
                  <c:v>24.979999999999986</c:v>
                </c:pt>
                <c:pt idx="1591">
                  <c:v>12.84</c:v>
                </c:pt>
                <c:pt idx="1592">
                  <c:v>27.4</c:v>
                </c:pt>
                <c:pt idx="1593">
                  <c:v>41.07</c:v>
                </c:pt>
                <c:pt idx="1594">
                  <c:v>12.85000000000001</c:v>
                </c:pt>
                <c:pt idx="1595">
                  <c:v>17.37</c:v>
                </c:pt>
                <c:pt idx="1596">
                  <c:v>20.36</c:v>
                </c:pt>
                <c:pt idx="1597">
                  <c:v>27.53</c:v>
                </c:pt>
                <c:pt idx="1598">
                  <c:v>15.01</c:v>
                </c:pt>
                <c:pt idx="1599">
                  <c:v>25.13000000000002</c:v>
                </c:pt>
                <c:pt idx="1600">
                  <c:v>29.97</c:v>
                </c:pt>
                <c:pt idx="1601">
                  <c:v>24.759999999999987</c:v>
                </c:pt>
                <c:pt idx="1602">
                  <c:v>24.32</c:v>
                </c:pt>
                <c:pt idx="1603">
                  <c:v>16.34</c:v>
                </c:pt>
                <c:pt idx="1604">
                  <c:v>29.73</c:v>
                </c:pt>
                <c:pt idx="1605">
                  <c:v>24.49</c:v>
                </c:pt>
                <c:pt idx="1606">
                  <c:v>31.02</c:v>
                </c:pt>
                <c:pt idx="1607">
                  <c:v>41.25</c:v>
                </c:pt>
                <c:pt idx="1608">
                  <c:v>28.03</c:v>
                </c:pt>
                <c:pt idx="1609">
                  <c:v>34.49</c:v>
                </c:pt>
                <c:pt idx="1610">
                  <c:v>24.65000000000002</c:v>
                </c:pt>
                <c:pt idx="1611">
                  <c:v>37.630000000000003</c:v>
                </c:pt>
                <c:pt idx="1612">
                  <c:v>19.920000000000002</c:v>
                </c:pt>
                <c:pt idx="1613">
                  <c:v>28.419999999999987</c:v>
                </c:pt>
                <c:pt idx="1614">
                  <c:v>28.49</c:v>
                </c:pt>
                <c:pt idx="1615">
                  <c:v>19.920000000000002</c:v>
                </c:pt>
                <c:pt idx="1616">
                  <c:v>22.110000000000021</c:v>
                </c:pt>
                <c:pt idx="1617">
                  <c:v>15.38</c:v>
                </c:pt>
                <c:pt idx="1618">
                  <c:v>15.46</c:v>
                </c:pt>
                <c:pt idx="1619">
                  <c:v>12.98</c:v>
                </c:pt>
                <c:pt idx="1620">
                  <c:v>22.919999999999987</c:v>
                </c:pt>
                <c:pt idx="1621">
                  <c:v>36.61</c:v>
                </c:pt>
                <c:pt idx="1622">
                  <c:v>48.84</c:v>
                </c:pt>
                <c:pt idx="1623">
                  <c:v>41.4</c:v>
                </c:pt>
                <c:pt idx="1624">
                  <c:v>25.37</c:v>
                </c:pt>
                <c:pt idx="1625">
                  <c:v>16.27</c:v>
                </c:pt>
                <c:pt idx="1626">
                  <c:v>42.5</c:v>
                </c:pt>
                <c:pt idx="1627">
                  <c:v>26.25</c:v>
                </c:pt>
                <c:pt idx="1628">
                  <c:v>19.110000000000021</c:v>
                </c:pt>
                <c:pt idx="1629">
                  <c:v>31.419999999999987</c:v>
                </c:pt>
                <c:pt idx="1630">
                  <c:v>17.649999999999999</c:v>
                </c:pt>
                <c:pt idx="1631">
                  <c:v>28.72</c:v>
                </c:pt>
                <c:pt idx="1632">
                  <c:v>18.14</c:v>
                </c:pt>
                <c:pt idx="1633">
                  <c:v>28.21</c:v>
                </c:pt>
                <c:pt idx="1634">
                  <c:v>18.010000000000005</c:v>
                </c:pt>
                <c:pt idx="1635">
                  <c:v>26.47</c:v>
                </c:pt>
                <c:pt idx="1636">
                  <c:v>27.04</c:v>
                </c:pt>
                <c:pt idx="1637">
                  <c:v>16.02</c:v>
                </c:pt>
                <c:pt idx="1638">
                  <c:v>28.03</c:v>
                </c:pt>
                <c:pt idx="1639">
                  <c:v>15.02</c:v>
                </c:pt>
                <c:pt idx="1640">
                  <c:v>31.95</c:v>
                </c:pt>
                <c:pt idx="1641">
                  <c:v>13.92</c:v>
                </c:pt>
                <c:pt idx="1642">
                  <c:v>30.58</c:v>
                </c:pt>
                <c:pt idx="1643">
                  <c:v>13.58</c:v>
                </c:pt>
                <c:pt idx="1644">
                  <c:v>34.75</c:v>
                </c:pt>
                <c:pt idx="1645">
                  <c:v>38.03</c:v>
                </c:pt>
                <c:pt idx="1646">
                  <c:v>29.54</c:v>
                </c:pt>
                <c:pt idx="1647">
                  <c:v>28.6</c:v>
                </c:pt>
                <c:pt idx="1648">
                  <c:v>27.01</c:v>
                </c:pt>
                <c:pt idx="1649">
                  <c:v>18.87</c:v>
                </c:pt>
                <c:pt idx="1650">
                  <c:v>38.93</c:v>
                </c:pt>
                <c:pt idx="1651">
                  <c:v>34.78</c:v>
                </c:pt>
                <c:pt idx="1652">
                  <c:v>27.18</c:v>
                </c:pt>
                <c:pt idx="1653">
                  <c:v>29.64</c:v>
                </c:pt>
                <c:pt idx="1654">
                  <c:v>31.17</c:v>
                </c:pt>
                <c:pt idx="1655">
                  <c:v>34.35</c:v>
                </c:pt>
                <c:pt idx="1656">
                  <c:v>23.5</c:v>
                </c:pt>
                <c:pt idx="1657">
                  <c:v>26.35</c:v>
                </c:pt>
                <c:pt idx="1658">
                  <c:v>24.64</c:v>
                </c:pt>
                <c:pt idx="1659">
                  <c:v>29.54</c:v>
                </c:pt>
                <c:pt idx="1660">
                  <c:v>25.08</c:v>
                </c:pt>
                <c:pt idx="1661">
                  <c:v>24.67</c:v>
                </c:pt>
                <c:pt idx="1662">
                  <c:v>39.090000000000003</c:v>
                </c:pt>
                <c:pt idx="1663">
                  <c:v>31.04</c:v>
                </c:pt>
                <c:pt idx="1664">
                  <c:v>39.46</c:v>
                </c:pt>
                <c:pt idx="1665">
                  <c:v>23.65000000000002</c:v>
                </c:pt>
                <c:pt idx="1666">
                  <c:v>40.690000000000012</c:v>
                </c:pt>
                <c:pt idx="1667">
                  <c:v>35.71</c:v>
                </c:pt>
                <c:pt idx="1668">
                  <c:v>25.69</c:v>
                </c:pt>
                <c:pt idx="1669">
                  <c:v>18.82</c:v>
                </c:pt>
                <c:pt idx="1670">
                  <c:v>22.5</c:v>
                </c:pt>
                <c:pt idx="1671">
                  <c:v>13.91</c:v>
                </c:pt>
                <c:pt idx="1672">
                  <c:v>17.079999999999988</c:v>
                </c:pt>
                <c:pt idx="1673">
                  <c:v>34.49</c:v>
                </c:pt>
                <c:pt idx="1674">
                  <c:v>16.79</c:v>
                </c:pt>
                <c:pt idx="1675">
                  <c:v>26.34</c:v>
                </c:pt>
                <c:pt idx="1676">
                  <c:v>24</c:v>
                </c:pt>
                <c:pt idx="1677">
                  <c:v>12.86000000000001</c:v>
                </c:pt>
                <c:pt idx="1678">
                  <c:v>16.899999999999999</c:v>
                </c:pt>
                <c:pt idx="1679">
                  <c:v>29.13000000000002</c:v>
                </c:pt>
                <c:pt idx="1680">
                  <c:v>44.31</c:v>
                </c:pt>
                <c:pt idx="1681">
                  <c:v>23.31000000000002</c:v>
                </c:pt>
                <c:pt idx="1682">
                  <c:v>27.57</c:v>
                </c:pt>
                <c:pt idx="1683">
                  <c:v>23.5</c:v>
                </c:pt>
                <c:pt idx="1684">
                  <c:v>27.02</c:v>
                </c:pt>
                <c:pt idx="1685">
                  <c:v>23.55</c:v>
                </c:pt>
                <c:pt idx="1686">
                  <c:v>24.24</c:v>
                </c:pt>
                <c:pt idx="1687">
                  <c:v>25.23</c:v>
                </c:pt>
                <c:pt idx="1688">
                  <c:v>36.730000000000011</c:v>
                </c:pt>
                <c:pt idx="1689">
                  <c:v>37.020000000000003</c:v>
                </c:pt>
                <c:pt idx="1690">
                  <c:v>24.09</c:v>
                </c:pt>
                <c:pt idx="1691">
                  <c:v>15.58</c:v>
                </c:pt>
                <c:pt idx="1692">
                  <c:v>11.85000000000001</c:v>
                </c:pt>
                <c:pt idx="1693">
                  <c:v>34.270000000000003</c:v>
                </c:pt>
                <c:pt idx="1694">
                  <c:v>16.38</c:v>
                </c:pt>
                <c:pt idx="1695">
                  <c:v>17.939999999999987</c:v>
                </c:pt>
                <c:pt idx="1696">
                  <c:v>39.94</c:v>
                </c:pt>
                <c:pt idx="1697">
                  <c:v>26.97</c:v>
                </c:pt>
                <c:pt idx="1698">
                  <c:v>20.55</c:v>
                </c:pt>
                <c:pt idx="1699">
                  <c:v>25.5</c:v>
                </c:pt>
                <c:pt idx="1700">
                  <c:v>27.52</c:v>
                </c:pt>
                <c:pt idx="1701">
                  <c:v>33.120000000000012</c:v>
                </c:pt>
                <c:pt idx="1702">
                  <c:v>45.96</c:v>
                </c:pt>
                <c:pt idx="1703">
                  <c:v>25.41</c:v>
                </c:pt>
                <c:pt idx="1704">
                  <c:v>24.5</c:v>
                </c:pt>
                <c:pt idx="1705">
                  <c:v>27.3</c:v>
                </c:pt>
                <c:pt idx="1706">
                  <c:v>27.259999999999987</c:v>
                </c:pt>
                <c:pt idx="1707">
                  <c:v>17.399999999999999</c:v>
                </c:pt>
                <c:pt idx="1708">
                  <c:v>32.28</c:v>
                </c:pt>
                <c:pt idx="1709">
                  <c:v>35.71</c:v>
                </c:pt>
                <c:pt idx="1710">
                  <c:v>33.96</c:v>
                </c:pt>
                <c:pt idx="1711">
                  <c:v>13.1</c:v>
                </c:pt>
                <c:pt idx="1712">
                  <c:v>33.270000000000003</c:v>
                </c:pt>
                <c:pt idx="1713">
                  <c:v>24.91</c:v>
                </c:pt>
                <c:pt idx="1714">
                  <c:v>23.32</c:v>
                </c:pt>
                <c:pt idx="1715">
                  <c:v>24.01</c:v>
                </c:pt>
                <c:pt idx="1716">
                  <c:v>18.05</c:v>
                </c:pt>
                <c:pt idx="1717">
                  <c:v>16.559999999999999</c:v>
                </c:pt>
                <c:pt idx="1718">
                  <c:v>14.23</c:v>
                </c:pt>
                <c:pt idx="1719">
                  <c:v>36.64</c:v>
                </c:pt>
                <c:pt idx="1720">
                  <c:v>26.02</c:v>
                </c:pt>
                <c:pt idx="1721">
                  <c:v>14.42</c:v>
                </c:pt>
                <c:pt idx="1722">
                  <c:v>52.57</c:v>
                </c:pt>
                <c:pt idx="1723">
                  <c:v>19.13000000000002</c:v>
                </c:pt>
                <c:pt idx="1724">
                  <c:v>29.03</c:v>
                </c:pt>
                <c:pt idx="1725">
                  <c:v>39.11</c:v>
                </c:pt>
                <c:pt idx="1726">
                  <c:v>28.99</c:v>
                </c:pt>
                <c:pt idx="1727">
                  <c:v>31.88</c:v>
                </c:pt>
                <c:pt idx="1728">
                  <c:v>10.69</c:v>
                </c:pt>
                <c:pt idx="1729">
                  <c:v>-5.39</c:v>
                </c:pt>
                <c:pt idx="1730">
                  <c:v>24.77</c:v>
                </c:pt>
                <c:pt idx="1731">
                  <c:v>24.330000000000005</c:v>
                </c:pt>
                <c:pt idx="1732">
                  <c:v>2.12</c:v>
                </c:pt>
                <c:pt idx="1733">
                  <c:v>11.16</c:v>
                </c:pt>
                <c:pt idx="1734">
                  <c:v>27.330000000000005</c:v>
                </c:pt>
                <c:pt idx="1735">
                  <c:v>31.99</c:v>
                </c:pt>
                <c:pt idx="1736">
                  <c:v>-12.2</c:v>
                </c:pt>
                <c:pt idx="1737">
                  <c:v>23.73</c:v>
                </c:pt>
                <c:pt idx="1738">
                  <c:v>34.07</c:v>
                </c:pt>
                <c:pt idx="1739">
                  <c:v>13.79</c:v>
                </c:pt>
                <c:pt idx="1740">
                  <c:v>16.95</c:v>
                </c:pt>
                <c:pt idx="1741">
                  <c:v>17.110000000000021</c:v>
                </c:pt>
                <c:pt idx="1742">
                  <c:v>24.05</c:v>
                </c:pt>
                <c:pt idx="1743">
                  <c:v>24.93</c:v>
                </c:pt>
                <c:pt idx="1744">
                  <c:v>22.88</c:v>
                </c:pt>
                <c:pt idx="1745">
                  <c:v>22.6</c:v>
                </c:pt>
                <c:pt idx="1746">
                  <c:v>37.910000000000004</c:v>
                </c:pt>
                <c:pt idx="1747">
                  <c:v>17.309999999999999</c:v>
                </c:pt>
                <c:pt idx="1748">
                  <c:v>27.29</c:v>
                </c:pt>
                <c:pt idx="1749">
                  <c:v>29.479999999999986</c:v>
                </c:pt>
                <c:pt idx="1750">
                  <c:v>18.5</c:v>
                </c:pt>
                <c:pt idx="1751">
                  <c:v>14.36000000000001</c:v>
                </c:pt>
                <c:pt idx="1752">
                  <c:v>31.04</c:v>
                </c:pt>
                <c:pt idx="1753">
                  <c:v>25.979999999999986</c:v>
                </c:pt>
                <c:pt idx="1754">
                  <c:v>30.16</c:v>
                </c:pt>
                <c:pt idx="1755">
                  <c:v>12.51</c:v>
                </c:pt>
                <c:pt idx="1756">
                  <c:v>40.090000000000003</c:v>
                </c:pt>
                <c:pt idx="1757">
                  <c:v>29</c:v>
                </c:pt>
                <c:pt idx="1758">
                  <c:v>38.480000000000004</c:v>
                </c:pt>
                <c:pt idx="1759">
                  <c:v>16.149999999999999</c:v>
                </c:pt>
                <c:pt idx="1760">
                  <c:v>39.03</c:v>
                </c:pt>
                <c:pt idx="1761">
                  <c:v>24.41</c:v>
                </c:pt>
                <c:pt idx="1762">
                  <c:v>23.419999999999987</c:v>
                </c:pt>
                <c:pt idx="1763">
                  <c:v>36.92</c:v>
                </c:pt>
                <c:pt idx="1764">
                  <c:v>22.1</c:v>
                </c:pt>
                <c:pt idx="1765">
                  <c:v>26.9</c:v>
                </c:pt>
                <c:pt idx="1766">
                  <c:v>29.13000000000002</c:v>
                </c:pt>
                <c:pt idx="1767">
                  <c:v>28.27</c:v>
                </c:pt>
                <c:pt idx="1768">
                  <c:v>31.88</c:v>
                </c:pt>
                <c:pt idx="1769">
                  <c:v>27.979999999999986</c:v>
                </c:pt>
                <c:pt idx="1770">
                  <c:v>27.959999999999987</c:v>
                </c:pt>
                <c:pt idx="1771">
                  <c:v>37.32</c:v>
                </c:pt>
                <c:pt idx="1772">
                  <c:v>27.02</c:v>
                </c:pt>
                <c:pt idx="1773">
                  <c:v>15.34</c:v>
                </c:pt>
                <c:pt idx="1774">
                  <c:v>23.75</c:v>
                </c:pt>
                <c:pt idx="1775">
                  <c:v>34.800000000000004</c:v>
                </c:pt>
                <c:pt idx="1776">
                  <c:v>31.01</c:v>
                </c:pt>
                <c:pt idx="1777">
                  <c:v>25.52</c:v>
                </c:pt>
                <c:pt idx="1778">
                  <c:v>16.29</c:v>
                </c:pt>
                <c:pt idx="1779">
                  <c:v>16.57</c:v>
                </c:pt>
                <c:pt idx="1780">
                  <c:v>25.13000000000002</c:v>
                </c:pt>
                <c:pt idx="1781">
                  <c:v>18.610000000000021</c:v>
                </c:pt>
                <c:pt idx="1782">
                  <c:v>16.5</c:v>
                </c:pt>
                <c:pt idx="1783">
                  <c:v>23.38</c:v>
                </c:pt>
                <c:pt idx="1784">
                  <c:v>24.99</c:v>
                </c:pt>
                <c:pt idx="1785">
                  <c:v>16.170000000000005</c:v>
                </c:pt>
                <c:pt idx="1786">
                  <c:v>16.25</c:v>
                </c:pt>
                <c:pt idx="1787">
                  <c:v>18.8</c:v>
                </c:pt>
                <c:pt idx="1788">
                  <c:v>35.61</c:v>
                </c:pt>
                <c:pt idx="1789">
                  <c:v>30.86</c:v>
                </c:pt>
                <c:pt idx="1790">
                  <c:v>38.01</c:v>
                </c:pt>
                <c:pt idx="1791">
                  <c:v>34.92</c:v>
                </c:pt>
                <c:pt idx="1792">
                  <c:v>27.75</c:v>
                </c:pt>
                <c:pt idx="1793">
                  <c:v>27.419999999999987</c:v>
                </c:pt>
                <c:pt idx="1794">
                  <c:v>48.88</c:v>
                </c:pt>
                <c:pt idx="1795">
                  <c:v>34.42</c:v>
                </c:pt>
                <c:pt idx="1796">
                  <c:v>21.59</c:v>
                </c:pt>
                <c:pt idx="1797">
                  <c:v>48.24</c:v>
                </c:pt>
                <c:pt idx="1798">
                  <c:v>26.89</c:v>
                </c:pt>
                <c:pt idx="1799">
                  <c:v>38.480000000000004</c:v>
                </c:pt>
                <c:pt idx="1800">
                  <c:v>31.2</c:v>
                </c:pt>
                <c:pt idx="1801">
                  <c:v>37.790000000000013</c:v>
                </c:pt>
                <c:pt idx="1802">
                  <c:v>33.99</c:v>
                </c:pt>
                <c:pt idx="1803">
                  <c:v>29.439999999999987</c:v>
                </c:pt>
                <c:pt idx="1804">
                  <c:v>32.47</c:v>
                </c:pt>
                <c:pt idx="1805">
                  <c:v>40.6</c:v>
                </c:pt>
                <c:pt idx="1806">
                  <c:v>40.06</c:v>
                </c:pt>
                <c:pt idx="1807">
                  <c:v>35.910000000000004</c:v>
                </c:pt>
                <c:pt idx="1808">
                  <c:v>24</c:v>
                </c:pt>
                <c:pt idx="1809">
                  <c:v>37.660000000000011</c:v>
                </c:pt>
                <c:pt idx="1810">
                  <c:v>35.78</c:v>
                </c:pt>
                <c:pt idx="1811">
                  <c:v>20.85</c:v>
                </c:pt>
                <c:pt idx="1812">
                  <c:v>17.29</c:v>
                </c:pt>
                <c:pt idx="1813">
                  <c:v>29.14</c:v>
                </c:pt>
                <c:pt idx="1814">
                  <c:v>16.8</c:v>
                </c:pt>
                <c:pt idx="1815">
                  <c:v>20.329999999999988</c:v>
                </c:pt>
                <c:pt idx="1816">
                  <c:v>31.08</c:v>
                </c:pt>
                <c:pt idx="1817">
                  <c:v>13.19</c:v>
                </c:pt>
                <c:pt idx="1818">
                  <c:v>22.21</c:v>
                </c:pt>
                <c:pt idx="1819">
                  <c:v>26.1</c:v>
                </c:pt>
                <c:pt idx="1820">
                  <c:v>19.03</c:v>
                </c:pt>
                <c:pt idx="1821">
                  <c:v>28.08</c:v>
                </c:pt>
                <c:pt idx="1822">
                  <c:v>34.54</c:v>
                </c:pt>
                <c:pt idx="1823">
                  <c:v>26.479999999999986</c:v>
                </c:pt>
                <c:pt idx="1824">
                  <c:v>37.93</c:v>
                </c:pt>
                <c:pt idx="1825">
                  <c:v>13.68</c:v>
                </c:pt>
                <c:pt idx="1826">
                  <c:v>19.939999999999987</c:v>
                </c:pt>
                <c:pt idx="1827">
                  <c:v>25</c:v>
                </c:pt>
                <c:pt idx="1828">
                  <c:v>33.020000000000003</c:v>
                </c:pt>
                <c:pt idx="1829">
                  <c:v>35.050000000000004</c:v>
                </c:pt>
                <c:pt idx="1830">
                  <c:v>43.93</c:v>
                </c:pt>
                <c:pt idx="1831">
                  <c:v>18.91</c:v>
                </c:pt>
                <c:pt idx="1832">
                  <c:v>18</c:v>
                </c:pt>
                <c:pt idx="1833">
                  <c:v>28.95</c:v>
                </c:pt>
                <c:pt idx="1834">
                  <c:v>25.56</c:v>
                </c:pt>
                <c:pt idx="1835">
                  <c:v>41.51</c:v>
                </c:pt>
                <c:pt idx="1836">
                  <c:v>35.92</c:v>
                </c:pt>
                <c:pt idx="1837">
                  <c:v>24.36</c:v>
                </c:pt>
                <c:pt idx="1838">
                  <c:v>29.66</c:v>
                </c:pt>
                <c:pt idx="1839">
                  <c:v>12.89</c:v>
                </c:pt>
                <c:pt idx="1840">
                  <c:v>39.910000000000004</c:v>
                </c:pt>
                <c:pt idx="1841">
                  <c:v>24.47</c:v>
                </c:pt>
                <c:pt idx="1842">
                  <c:v>56.51</c:v>
                </c:pt>
                <c:pt idx="1843">
                  <c:v>18.479999999999986</c:v>
                </c:pt>
                <c:pt idx="1844">
                  <c:v>11.99</c:v>
                </c:pt>
                <c:pt idx="1845">
                  <c:v>26.21</c:v>
                </c:pt>
                <c:pt idx="1846">
                  <c:v>37.800000000000004</c:v>
                </c:pt>
                <c:pt idx="1847">
                  <c:v>22.52</c:v>
                </c:pt>
                <c:pt idx="1848">
                  <c:v>38.4</c:v>
                </c:pt>
                <c:pt idx="1849">
                  <c:v>24.439999999999987</c:v>
                </c:pt>
                <c:pt idx="1850">
                  <c:v>24.84</c:v>
                </c:pt>
                <c:pt idx="1851">
                  <c:v>18.04</c:v>
                </c:pt>
                <c:pt idx="1852">
                  <c:v>43.5</c:v>
                </c:pt>
                <c:pt idx="1853">
                  <c:v>15.370000000000006</c:v>
                </c:pt>
                <c:pt idx="1854">
                  <c:v>14.53</c:v>
                </c:pt>
                <c:pt idx="1855">
                  <c:v>30.08</c:v>
                </c:pt>
                <c:pt idx="1856">
                  <c:v>43.02</c:v>
                </c:pt>
                <c:pt idx="1857">
                  <c:v>30.59</c:v>
                </c:pt>
                <c:pt idx="1858">
                  <c:v>25.07</c:v>
                </c:pt>
                <c:pt idx="1859">
                  <c:v>43.9</c:v>
                </c:pt>
                <c:pt idx="1860">
                  <c:v>25.08</c:v>
                </c:pt>
                <c:pt idx="1861">
                  <c:v>24.88</c:v>
                </c:pt>
                <c:pt idx="1862">
                  <c:v>-2.92</c:v>
                </c:pt>
                <c:pt idx="1863">
                  <c:v>31.34</c:v>
                </c:pt>
                <c:pt idx="1864">
                  <c:v>15.5</c:v>
                </c:pt>
                <c:pt idx="1865">
                  <c:v>35.14</c:v>
                </c:pt>
                <c:pt idx="1866">
                  <c:v>22.25</c:v>
                </c:pt>
                <c:pt idx="1867">
                  <c:v>25.12</c:v>
                </c:pt>
                <c:pt idx="1868">
                  <c:v>17.7</c:v>
                </c:pt>
                <c:pt idx="1869">
                  <c:v>27.6</c:v>
                </c:pt>
                <c:pt idx="1870">
                  <c:v>49.82</c:v>
                </c:pt>
                <c:pt idx="1871">
                  <c:v>26.32</c:v>
                </c:pt>
                <c:pt idx="1872">
                  <c:v>32.01</c:v>
                </c:pt>
                <c:pt idx="1873">
                  <c:v>5.1899999999999995</c:v>
                </c:pt>
                <c:pt idx="1874">
                  <c:v>2.1800000000000002</c:v>
                </c:pt>
                <c:pt idx="1875">
                  <c:v>31.93</c:v>
                </c:pt>
                <c:pt idx="1876">
                  <c:v>31.91</c:v>
                </c:pt>
                <c:pt idx="1877">
                  <c:v>44.03</c:v>
                </c:pt>
                <c:pt idx="1878">
                  <c:v>44.93</c:v>
                </c:pt>
                <c:pt idx="1879">
                  <c:v>57.690000000000012</c:v>
                </c:pt>
                <c:pt idx="1880">
                  <c:v>26.93</c:v>
                </c:pt>
                <c:pt idx="1881">
                  <c:v>26.23</c:v>
                </c:pt>
                <c:pt idx="1882">
                  <c:v>17.2</c:v>
                </c:pt>
                <c:pt idx="1883">
                  <c:v>35.720000000000013</c:v>
                </c:pt>
                <c:pt idx="1884">
                  <c:v>44.690000000000012</c:v>
                </c:pt>
                <c:pt idx="1885">
                  <c:v>35.790000000000013</c:v>
                </c:pt>
                <c:pt idx="1886">
                  <c:v>21.64</c:v>
                </c:pt>
                <c:pt idx="1887">
                  <c:v>18.670000000000005</c:v>
                </c:pt>
                <c:pt idx="1888">
                  <c:v>19.459999999999987</c:v>
                </c:pt>
                <c:pt idx="1889">
                  <c:v>45.04</c:v>
                </c:pt>
                <c:pt idx="1890">
                  <c:v>31.439999999999987</c:v>
                </c:pt>
                <c:pt idx="1891">
                  <c:v>22.59</c:v>
                </c:pt>
                <c:pt idx="1892">
                  <c:v>40.51</c:v>
                </c:pt>
                <c:pt idx="1893">
                  <c:v>23.19</c:v>
                </c:pt>
                <c:pt idx="1894">
                  <c:v>25.459999999999987</c:v>
                </c:pt>
                <c:pt idx="1895">
                  <c:v>15.73</c:v>
                </c:pt>
                <c:pt idx="1896">
                  <c:v>30.08</c:v>
                </c:pt>
                <c:pt idx="1897">
                  <c:v>31.05</c:v>
                </c:pt>
                <c:pt idx="1898">
                  <c:v>10.14</c:v>
                </c:pt>
                <c:pt idx="1899">
                  <c:v>15.96</c:v>
                </c:pt>
                <c:pt idx="1900">
                  <c:v>14.94</c:v>
                </c:pt>
                <c:pt idx="1901">
                  <c:v>14.97</c:v>
                </c:pt>
                <c:pt idx="1902">
                  <c:v>30.08</c:v>
                </c:pt>
                <c:pt idx="1903">
                  <c:v>25.09</c:v>
                </c:pt>
                <c:pt idx="1904">
                  <c:v>21.45</c:v>
                </c:pt>
                <c:pt idx="1905">
                  <c:v>31.439999999999987</c:v>
                </c:pt>
                <c:pt idx="1906">
                  <c:v>19.420000000000002</c:v>
                </c:pt>
                <c:pt idx="1907">
                  <c:v>29.279999999999987</c:v>
                </c:pt>
                <c:pt idx="1908">
                  <c:v>35.840000000000003</c:v>
                </c:pt>
                <c:pt idx="1909">
                  <c:v>20.99</c:v>
                </c:pt>
                <c:pt idx="1910">
                  <c:v>23.9</c:v>
                </c:pt>
                <c:pt idx="1911">
                  <c:v>42.03</c:v>
                </c:pt>
                <c:pt idx="1912">
                  <c:v>22.95</c:v>
                </c:pt>
                <c:pt idx="1913">
                  <c:v>25.2</c:v>
                </c:pt>
                <c:pt idx="1914">
                  <c:v>21.25</c:v>
                </c:pt>
                <c:pt idx="1915">
                  <c:v>21.22</c:v>
                </c:pt>
                <c:pt idx="1916">
                  <c:v>26.73</c:v>
                </c:pt>
                <c:pt idx="1917">
                  <c:v>27.1</c:v>
                </c:pt>
                <c:pt idx="1918">
                  <c:v>43.97</c:v>
                </c:pt>
                <c:pt idx="1919">
                  <c:v>36.980000000000004</c:v>
                </c:pt>
                <c:pt idx="1920">
                  <c:v>19.600000000000001</c:v>
                </c:pt>
                <c:pt idx="1921">
                  <c:v>37.880000000000003</c:v>
                </c:pt>
                <c:pt idx="1922">
                  <c:v>36.67</c:v>
                </c:pt>
                <c:pt idx="1923">
                  <c:v>24.39</c:v>
                </c:pt>
                <c:pt idx="1924">
                  <c:v>39.190000000000012</c:v>
                </c:pt>
                <c:pt idx="1925">
                  <c:v>37.790000000000013</c:v>
                </c:pt>
                <c:pt idx="1926">
                  <c:v>43.230000000000011</c:v>
                </c:pt>
                <c:pt idx="1927">
                  <c:v>43.98</c:v>
                </c:pt>
                <c:pt idx="1928">
                  <c:v>-2.02</c:v>
                </c:pt>
                <c:pt idx="1929">
                  <c:v>25.69</c:v>
                </c:pt>
                <c:pt idx="1930">
                  <c:v>23.779999999999987</c:v>
                </c:pt>
                <c:pt idx="1931">
                  <c:v>24.959999999999987</c:v>
                </c:pt>
                <c:pt idx="1932">
                  <c:v>45.82</c:v>
                </c:pt>
                <c:pt idx="1933">
                  <c:v>34.51</c:v>
                </c:pt>
                <c:pt idx="1934">
                  <c:v>36.92</c:v>
                </c:pt>
                <c:pt idx="1935">
                  <c:v>25.04</c:v>
                </c:pt>
                <c:pt idx="1936">
                  <c:v>25.01</c:v>
                </c:pt>
                <c:pt idx="1937">
                  <c:v>10.1</c:v>
                </c:pt>
                <c:pt idx="1938">
                  <c:v>27.9</c:v>
                </c:pt>
                <c:pt idx="1939">
                  <c:v>30.01</c:v>
                </c:pt>
                <c:pt idx="1940">
                  <c:v>15.15</c:v>
                </c:pt>
                <c:pt idx="1941">
                  <c:v>-65.02</c:v>
                </c:pt>
                <c:pt idx="1942">
                  <c:v>16.72</c:v>
                </c:pt>
                <c:pt idx="1943">
                  <c:v>17.54</c:v>
                </c:pt>
                <c:pt idx="1944">
                  <c:v>14.51</c:v>
                </c:pt>
                <c:pt idx="1945">
                  <c:v>44.91</c:v>
                </c:pt>
                <c:pt idx="1946">
                  <c:v>23.9</c:v>
                </c:pt>
                <c:pt idx="1947">
                  <c:v>25.97</c:v>
                </c:pt>
                <c:pt idx="1948">
                  <c:v>22.419999999999987</c:v>
                </c:pt>
                <c:pt idx="1949">
                  <c:v>26.43</c:v>
                </c:pt>
                <c:pt idx="1950">
                  <c:v>34.9</c:v>
                </c:pt>
                <c:pt idx="1951">
                  <c:v>27.15000000000002</c:v>
                </c:pt>
                <c:pt idx="1952">
                  <c:v>19.03</c:v>
                </c:pt>
                <c:pt idx="1953">
                  <c:v>19.55</c:v>
                </c:pt>
                <c:pt idx="1954">
                  <c:v>27.419999999999987</c:v>
                </c:pt>
                <c:pt idx="1955">
                  <c:v>36.08</c:v>
                </c:pt>
                <c:pt idx="1956">
                  <c:v>29.419999999999987</c:v>
                </c:pt>
                <c:pt idx="1957">
                  <c:v>-79.940000000000026</c:v>
                </c:pt>
                <c:pt idx="1958">
                  <c:v>42.89</c:v>
                </c:pt>
                <c:pt idx="1959">
                  <c:v>23.610000000000021</c:v>
                </c:pt>
                <c:pt idx="1960">
                  <c:v>31.32</c:v>
                </c:pt>
                <c:pt idx="1961">
                  <c:v>15.28</c:v>
                </c:pt>
                <c:pt idx="1962">
                  <c:v>32.96</c:v>
                </c:pt>
                <c:pt idx="1963">
                  <c:v>26.4</c:v>
                </c:pt>
                <c:pt idx="1964">
                  <c:v>17.55</c:v>
                </c:pt>
                <c:pt idx="1965">
                  <c:v>35.290000000000013</c:v>
                </c:pt>
                <c:pt idx="1966">
                  <c:v>35.01</c:v>
                </c:pt>
                <c:pt idx="1967">
                  <c:v>28.919999999999987</c:v>
                </c:pt>
                <c:pt idx="1968">
                  <c:v>31.02</c:v>
                </c:pt>
                <c:pt idx="1969">
                  <c:v>30.07</c:v>
                </c:pt>
                <c:pt idx="1970">
                  <c:v>23.49</c:v>
                </c:pt>
                <c:pt idx="1971">
                  <c:v>25.05</c:v>
                </c:pt>
                <c:pt idx="1972">
                  <c:v>42.07</c:v>
                </c:pt>
                <c:pt idx="1973">
                  <c:v>10.5</c:v>
                </c:pt>
                <c:pt idx="1974">
                  <c:v>29.01</c:v>
                </c:pt>
                <c:pt idx="1975">
                  <c:v>30.34</c:v>
                </c:pt>
                <c:pt idx="1976">
                  <c:v>32.450000000000003</c:v>
                </c:pt>
                <c:pt idx="1977">
                  <c:v>36.21</c:v>
                </c:pt>
                <c:pt idx="1978">
                  <c:v>17.73</c:v>
                </c:pt>
                <c:pt idx="1979">
                  <c:v>23.19</c:v>
                </c:pt>
                <c:pt idx="1980">
                  <c:v>28.259999999999987</c:v>
                </c:pt>
                <c:pt idx="1981">
                  <c:v>35.980000000000004</c:v>
                </c:pt>
                <c:pt idx="1982">
                  <c:v>28.03</c:v>
                </c:pt>
                <c:pt idx="1983">
                  <c:v>12.06</c:v>
                </c:pt>
                <c:pt idx="1984">
                  <c:v>-19.110000000000021</c:v>
                </c:pt>
                <c:pt idx="1985">
                  <c:v>17.93</c:v>
                </c:pt>
                <c:pt idx="1986">
                  <c:v>42.97</c:v>
                </c:pt>
                <c:pt idx="1987">
                  <c:v>23.939999999999987</c:v>
                </c:pt>
                <c:pt idx="1988">
                  <c:v>31.09</c:v>
                </c:pt>
                <c:pt idx="1989">
                  <c:v>28.69</c:v>
                </c:pt>
                <c:pt idx="1990">
                  <c:v>30.07</c:v>
                </c:pt>
                <c:pt idx="1991">
                  <c:v>25.65000000000002</c:v>
                </c:pt>
                <c:pt idx="1992">
                  <c:v>35.300000000000004</c:v>
                </c:pt>
                <c:pt idx="1993">
                  <c:v>23.66</c:v>
                </c:pt>
                <c:pt idx="1994">
                  <c:v>44.44</c:v>
                </c:pt>
                <c:pt idx="1995">
                  <c:v>22.41</c:v>
                </c:pt>
                <c:pt idx="1996">
                  <c:v>25.36</c:v>
                </c:pt>
                <c:pt idx="1997">
                  <c:v>29.830000000000005</c:v>
                </c:pt>
                <c:pt idx="1998">
                  <c:v>33.99</c:v>
                </c:pt>
                <c:pt idx="1999">
                  <c:v>35.340000000000003</c:v>
                </c:pt>
                <c:pt idx="2000">
                  <c:v>45.81</c:v>
                </c:pt>
                <c:pt idx="2001">
                  <c:v>40.44</c:v>
                </c:pt>
                <c:pt idx="2002">
                  <c:v>49</c:v>
                </c:pt>
                <c:pt idx="2003">
                  <c:v>38.450000000000003</c:v>
                </c:pt>
                <c:pt idx="2004">
                  <c:v>43.93</c:v>
                </c:pt>
                <c:pt idx="2005">
                  <c:v>27.39</c:v>
                </c:pt>
                <c:pt idx="2006">
                  <c:v>21.84</c:v>
                </c:pt>
                <c:pt idx="2007">
                  <c:v>29.58</c:v>
                </c:pt>
                <c:pt idx="2008">
                  <c:v>48.3</c:v>
                </c:pt>
                <c:pt idx="2009">
                  <c:v>31.919999999999987</c:v>
                </c:pt>
                <c:pt idx="2010">
                  <c:v>23.439999999999987</c:v>
                </c:pt>
                <c:pt idx="2011">
                  <c:v>29.95</c:v>
                </c:pt>
                <c:pt idx="2012">
                  <c:v>28.49</c:v>
                </c:pt>
                <c:pt idx="2013">
                  <c:v>29.06</c:v>
                </c:pt>
                <c:pt idx="2014">
                  <c:v>11.36000000000001</c:v>
                </c:pt>
                <c:pt idx="2015">
                  <c:v>23.479999999999986</c:v>
                </c:pt>
                <c:pt idx="2016">
                  <c:v>32.96</c:v>
                </c:pt>
                <c:pt idx="2017">
                  <c:v>45.83</c:v>
                </c:pt>
                <c:pt idx="2018">
                  <c:v>3.17</c:v>
                </c:pt>
                <c:pt idx="2019">
                  <c:v>30.8</c:v>
                </c:pt>
                <c:pt idx="2020">
                  <c:v>55.9</c:v>
                </c:pt>
                <c:pt idx="2021">
                  <c:v>20.43</c:v>
                </c:pt>
                <c:pt idx="2022">
                  <c:v>29.01</c:v>
                </c:pt>
                <c:pt idx="2023">
                  <c:v>17.38</c:v>
                </c:pt>
                <c:pt idx="2024">
                  <c:v>34.86</c:v>
                </c:pt>
                <c:pt idx="2025">
                  <c:v>36.730000000000011</c:v>
                </c:pt>
                <c:pt idx="2026">
                  <c:v>18.91</c:v>
                </c:pt>
                <c:pt idx="2027">
                  <c:v>27.439999999999987</c:v>
                </c:pt>
                <c:pt idx="2028">
                  <c:v>23.87</c:v>
                </c:pt>
                <c:pt idx="2029">
                  <c:v>40.870000000000005</c:v>
                </c:pt>
                <c:pt idx="2030">
                  <c:v>31.37</c:v>
                </c:pt>
                <c:pt idx="2031">
                  <c:v>16.36</c:v>
                </c:pt>
                <c:pt idx="2032">
                  <c:v>23.2</c:v>
                </c:pt>
                <c:pt idx="2033">
                  <c:v>27.03</c:v>
                </c:pt>
                <c:pt idx="2034">
                  <c:v>37.020000000000003</c:v>
                </c:pt>
                <c:pt idx="2035">
                  <c:v>29.979999999999986</c:v>
                </c:pt>
                <c:pt idx="2036">
                  <c:v>25.91</c:v>
                </c:pt>
                <c:pt idx="2037">
                  <c:v>41.87</c:v>
                </c:pt>
                <c:pt idx="2038">
                  <c:v>25.5</c:v>
                </c:pt>
                <c:pt idx="2039">
                  <c:v>20.239999999999988</c:v>
                </c:pt>
                <c:pt idx="2040">
                  <c:v>15.5</c:v>
                </c:pt>
                <c:pt idx="2041">
                  <c:v>25.05</c:v>
                </c:pt>
                <c:pt idx="2042">
                  <c:v>26.01</c:v>
                </c:pt>
                <c:pt idx="2043">
                  <c:v>19.02</c:v>
                </c:pt>
                <c:pt idx="2044">
                  <c:v>29.53</c:v>
                </c:pt>
                <c:pt idx="2045">
                  <c:v>11.15</c:v>
                </c:pt>
                <c:pt idx="2046">
                  <c:v>25.02</c:v>
                </c:pt>
                <c:pt idx="2047">
                  <c:v>32.18</c:v>
                </c:pt>
                <c:pt idx="2048">
                  <c:v>41</c:v>
                </c:pt>
                <c:pt idx="2049">
                  <c:v>26.29</c:v>
                </c:pt>
                <c:pt idx="2050">
                  <c:v>38.44</c:v>
                </c:pt>
                <c:pt idx="2051">
                  <c:v>14.29</c:v>
                </c:pt>
                <c:pt idx="2052">
                  <c:v>40.840000000000003</c:v>
                </c:pt>
                <c:pt idx="2053">
                  <c:v>31.38</c:v>
                </c:pt>
                <c:pt idx="2054">
                  <c:v>23.93</c:v>
                </c:pt>
                <c:pt idx="2055">
                  <c:v>37.96</c:v>
                </c:pt>
                <c:pt idx="2056">
                  <c:v>23.06</c:v>
                </c:pt>
                <c:pt idx="2057">
                  <c:v>29.4</c:v>
                </c:pt>
                <c:pt idx="2058">
                  <c:v>15.96</c:v>
                </c:pt>
                <c:pt idx="2059">
                  <c:v>19.05</c:v>
                </c:pt>
                <c:pt idx="2060">
                  <c:v>18.600000000000001</c:v>
                </c:pt>
                <c:pt idx="2061">
                  <c:v>28.18</c:v>
                </c:pt>
                <c:pt idx="2062">
                  <c:v>34.08</c:v>
                </c:pt>
                <c:pt idx="2063">
                  <c:v>31.07</c:v>
                </c:pt>
                <c:pt idx="2064">
                  <c:v>29.59</c:v>
                </c:pt>
                <c:pt idx="2065">
                  <c:v>26.08</c:v>
                </c:pt>
                <c:pt idx="2066">
                  <c:v>27.05</c:v>
                </c:pt>
                <c:pt idx="2067">
                  <c:v>30.55</c:v>
                </c:pt>
                <c:pt idx="2068">
                  <c:v>16.13000000000002</c:v>
                </c:pt>
                <c:pt idx="2069">
                  <c:v>-65.06</c:v>
                </c:pt>
                <c:pt idx="2070">
                  <c:v>28.939999999999987</c:v>
                </c:pt>
                <c:pt idx="2071">
                  <c:v>29.06</c:v>
                </c:pt>
                <c:pt idx="2072">
                  <c:v>43.38</c:v>
                </c:pt>
                <c:pt idx="2073">
                  <c:v>37.44</c:v>
                </c:pt>
                <c:pt idx="2074">
                  <c:v>18.959999999999987</c:v>
                </c:pt>
                <c:pt idx="2075">
                  <c:v>33.86</c:v>
                </c:pt>
                <c:pt idx="2076">
                  <c:v>37.32</c:v>
                </c:pt>
                <c:pt idx="2077">
                  <c:v>31.01</c:v>
                </c:pt>
                <c:pt idx="2078">
                  <c:v>56.44</c:v>
                </c:pt>
                <c:pt idx="2079">
                  <c:v>27.03</c:v>
                </c:pt>
                <c:pt idx="2080">
                  <c:v>23.439999999999987</c:v>
                </c:pt>
                <c:pt idx="2081">
                  <c:v>34.050000000000004</c:v>
                </c:pt>
                <c:pt idx="2082">
                  <c:v>40.46</c:v>
                </c:pt>
                <c:pt idx="2083">
                  <c:v>21.05</c:v>
                </c:pt>
                <c:pt idx="2084">
                  <c:v>23.1</c:v>
                </c:pt>
                <c:pt idx="2085">
                  <c:v>28.65000000000002</c:v>
                </c:pt>
                <c:pt idx="2086">
                  <c:v>26.16</c:v>
                </c:pt>
                <c:pt idx="2087">
                  <c:v>44.760000000000012</c:v>
                </c:pt>
                <c:pt idx="2088">
                  <c:v>29.52</c:v>
                </c:pt>
                <c:pt idx="2089">
                  <c:v>39.28</c:v>
                </c:pt>
                <c:pt idx="2090">
                  <c:v>36.03</c:v>
                </c:pt>
                <c:pt idx="2091">
                  <c:v>24.330000000000005</c:v>
                </c:pt>
                <c:pt idx="2092">
                  <c:v>29.08</c:v>
                </c:pt>
                <c:pt idx="2093">
                  <c:v>32.980000000000004</c:v>
                </c:pt>
                <c:pt idx="2094">
                  <c:v>28.21</c:v>
                </c:pt>
                <c:pt idx="2095">
                  <c:v>24.03</c:v>
                </c:pt>
                <c:pt idx="2096">
                  <c:v>-7.45</c:v>
                </c:pt>
                <c:pt idx="2097">
                  <c:v>23.93</c:v>
                </c:pt>
                <c:pt idx="2098">
                  <c:v>24.939999999999987</c:v>
                </c:pt>
                <c:pt idx="2099">
                  <c:v>10.16</c:v>
                </c:pt>
                <c:pt idx="2100">
                  <c:v>13.41</c:v>
                </c:pt>
                <c:pt idx="2101">
                  <c:v>42.86</c:v>
                </c:pt>
                <c:pt idx="2102">
                  <c:v>16</c:v>
                </c:pt>
                <c:pt idx="2103">
                  <c:v>30.89</c:v>
                </c:pt>
                <c:pt idx="2104">
                  <c:v>34.58</c:v>
                </c:pt>
                <c:pt idx="2105">
                  <c:v>16.170000000000005</c:v>
                </c:pt>
                <c:pt idx="2106">
                  <c:v>29.45</c:v>
                </c:pt>
                <c:pt idx="2107">
                  <c:v>15.59</c:v>
                </c:pt>
                <c:pt idx="2108">
                  <c:v>32.260000000000012</c:v>
                </c:pt>
                <c:pt idx="2109">
                  <c:v>22.06</c:v>
                </c:pt>
                <c:pt idx="2110">
                  <c:v>4.0000000000000022E-2</c:v>
                </c:pt>
                <c:pt idx="2111">
                  <c:v>23.54</c:v>
                </c:pt>
                <c:pt idx="2112">
                  <c:v>23.55</c:v>
                </c:pt>
                <c:pt idx="2113">
                  <c:v>25.35</c:v>
                </c:pt>
                <c:pt idx="2114">
                  <c:v>21.29</c:v>
                </c:pt>
                <c:pt idx="2115">
                  <c:v>36.67</c:v>
                </c:pt>
                <c:pt idx="2116">
                  <c:v>31.56</c:v>
                </c:pt>
                <c:pt idx="2117">
                  <c:v>41.96</c:v>
                </c:pt>
                <c:pt idx="2118">
                  <c:v>27.68</c:v>
                </c:pt>
                <c:pt idx="2119">
                  <c:v>15.92</c:v>
                </c:pt>
                <c:pt idx="2120">
                  <c:v>32.050000000000004</c:v>
                </c:pt>
                <c:pt idx="2121">
                  <c:v>17.100000000000001</c:v>
                </c:pt>
                <c:pt idx="2122">
                  <c:v>44.32</c:v>
                </c:pt>
                <c:pt idx="2123">
                  <c:v>50.94</c:v>
                </c:pt>
                <c:pt idx="2124">
                  <c:v>30.03</c:v>
                </c:pt>
                <c:pt idx="2125">
                  <c:v>22.85</c:v>
                </c:pt>
                <c:pt idx="2126">
                  <c:v>10.52</c:v>
                </c:pt>
                <c:pt idx="2127">
                  <c:v>27.18</c:v>
                </c:pt>
                <c:pt idx="2128">
                  <c:v>20.05</c:v>
                </c:pt>
                <c:pt idx="2129">
                  <c:v>29.06</c:v>
                </c:pt>
                <c:pt idx="2130">
                  <c:v>46.11</c:v>
                </c:pt>
                <c:pt idx="2131">
                  <c:v>16.64</c:v>
                </c:pt>
                <c:pt idx="2132">
                  <c:v>24.8</c:v>
                </c:pt>
                <c:pt idx="2133">
                  <c:v>22.5</c:v>
                </c:pt>
                <c:pt idx="2134">
                  <c:v>30.54</c:v>
                </c:pt>
                <c:pt idx="2135">
                  <c:v>23.07</c:v>
                </c:pt>
                <c:pt idx="2136">
                  <c:v>16.239999999999988</c:v>
                </c:pt>
                <c:pt idx="2137">
                  <c:v>35.06</c:v>
                </c:pt>
                <c:pt idx="2138">
                  <c:v>19.98999999999997</c:v>
                </c:pt>
                <c:pt idx="2139">
                  <c:v>19.62</c:v>
                </c:pt>
                <c:pt idx="2140">
                  <c:v>29.979999999999986</c:v>
                </c:pt>
                <c:pt idx="2141">
                  <c:v>39.270000000000003</c:v>
                </c:pt>
                <c:pt idx="2142">
                  <c:v>40.020000000000003</c:v>
                </c:pt>
                <c:pt idx="2143">
                  <c:v>15.57</c:v>
                </c:pt>
                <c:pt idx="2144">
                  <c:v>25.08</c:v>
                </c:pt>
                <c:pt idx="2145">
                  <c:v>26.419999999999987</c:v>
                </c:pt>
                <c:pt idx="2146">
                  <c:v>23.45</c:v>
                </c:pt>
                <c:pt idx="2147">
                  <c:v>27.439999999999987</c:v>
                </c:pt>
                <c:pt idx="2148">
                  <c:v>44.92</c:v>
                </c:pt>
                <c:pt idx="2149">
                  <c:v>28.3</c:v>
                </c:pt>
                <c:pt idx="2150">
                  <c:v>34.06</c:v>
                </c:pt>
                <c:pt idx="2151">
                  <c:v>28.64</c:v>
                </c:pt>
                <c:pt idx="2152">
                  <c:v>37.39</c:v>
                </c:pt>
                <c:pt idx="2153">
                  <c:v>28.06</c:v>
                </c:pt>
                <c:pt idx="2154">
                  <c:v>20.95</c:v>
                </c:pt>
                <c:pt idx="2155">
                  <c:v>32.910000000000004</c:v>
                </c:pt>
                <c:pt idx="2156">
                  <c:v>13.17</c:v>
                </c:pt>
                <c:pt idx="2157">
                  <c:v>25.05</c:v>
                </c:pt>
                <c:pt idx="2158">
                  <c:v>28.63000000000002</c:v>
                </c:pt>
                <c:pt idx="2159">
                  <c:v>23.35</c:v>
                </c:pt>
                <c:pt idx="2160">
                  <c:v>48.08</c:v>
                </c:pt>
                <c:pt idx="2161">
                  <c:v>27.03</c:v>
                </c:pt>
                <c:pt idx="2162">
                  <c:v>28.59</c:v>
                </c:pt>
                <c:pt idx="2163">
                  <c:v>32.53</c:v>
                </c:pt>
                <c:pt idx="2164">
                  <c:v>32.370000000000005</c:v>
                </c:pt>
                <c:pt idx="2165">
                  <c:v>34.42</c:v>
                </c:pt>
                <c:pt idx="2166">
                  <c:v>36.97</c:v>
                </c:pt>
                <c:pt idx="2167">
                  <c:v>30.09</c:v>
                </c:pt>
                <c:pt idx="2168">
                  <c:v>16.899999999999999</c:v>
                </c:pt>
                <c:pt idx="2169">
                  <c:v>23.09</c:v>
                </c:pt>
                <c:pt idx="2170">
                  <c:v>17.54</c:v>
                </c:pt>
                <c:pt idx="2171">
                  <c:v>32.340000000000003</c:v>
                </c:pt>
                <c:pt idx="2172">
                  <c:v>19.010000000000005</c:v>
                </c:pt>
                <c:pt idx="2173">
                  <c:v>47.620000000000012</c:v>
                </c:pt>
                <c:pt idx="2174">
                  <c:v>18.68</c:v>
                </c:pt>
                <c:pt idx="2175">
                  <c:v>10.11</c:v>
                </c:pt>
                <c:pt idx="2176">
                  <c:v>22.93</c:v>
                </c:pt>
                <c:pt idx="2177">
                  <c:v>40.590000000000003</c:v>
                </c:pt>
                <c:pt idx="2178">
                  <c:v>25.02</c:v>
                </c:pt>
                <c:pt idx="2179">
                  <c:v>34.36</c:v>
                </c:pt>
                <c:pt idx="2180">
                  <c:v>22.110000000000021</c:v>
                </c:pt>
                <c:pt idx="2181">
                  <c:v>17.73</c:v>
                </c:pt>
                <c:pt idx="2182">
                  <c:v>18.04</c:v>
                </c:pt>
                <c:pt idx="2183">
                  <c:v>16.38</c:v>
                </c:pt>
                <c:pt idx="2184">
                  <c:v>24.71</c:v>
                </c:pt>
                <c:pt idx="2185">
                  <c:v>20.979999999999986</c:v>
                </c:pt>
                <c:pt idx="2186">
                  <c:v>27.01</c:v>
                </c:pt>
                <c:pt idx="2187">
                  <c:v>25.58</c:v>
                </c:pt>
                <c:pt idx="2188">
                  <c:v>44.57</c:v>
                </c:pt>
                <c:pt idx="2189">
                  <c:v>25.979999999999986</c:v>
                </c:pt>
                <c:pt idx="2190">
                  <c:v>16.05</c:v>
                </c:pt>
                <c:pt idx="2191">
                  <c:v>30.72</c:v>
                </c:pt>
                <c:pt idx="2192">
                  <c:v>16.079999999999988</c:v>
                </c:pt>
                <c:pt idx="2193">
                  <c:v>34.56</c:v>
                </c:pt>
                <c:pt idx="2194">
                  <c:v>36.720000000000013</c:v>
                </c:pt>
                <c:pt idx="2195">
                  <c:v>35.07</c:v>
                </c:pt>
                <c:pt idx="2196">
                  <c:v>47.11</c:v>
                </c:pt>
                <c:pt idx="2197">
                  <c:v>47.78</c:v>
                </c:pt>
                <c:pt idx="2198">
                  <c:v>29.85</c:v>
                </c:pt>
                <c:pt idx="2199">
                  <c:v>44.91</c:v>
                </c:pt>
                <c:pt idx="2200">
                  <c:v>20.059999999999999</c:v>
                </c:pt>
                <c:pt idx="2201">
                  <c:v>28.66</c:v>
                </c:pt>
                <c:pt idx="2202">
                  <c:v>34.790000000000013</c:v>
                </c:pt>
                <c:pt idx="2203">
                  <c:v>19.79</c:v>
                </c:pt>
                <c:pt idx="2204">
                  <c:v>39.370000000000005</c:v>
                </c:pt>
                <c:pt idx="2205">
                  <c:v>23.08</c:v>
                </c:pt>
                <c:pt idx="2206">
                  <c:v>0.1</c:v>
                </c:pt>
                <c:pt idx="2207">
                  <c:v>37.99</c:v>
                </c:pt>
                <c:pt idx="2208">
                  <c:v>25.979999999999986</c:v>
                </c:pt>
                <c:pt idx="2209">
                  <c:v>20.45</c:v>
                </c:pt>
                <c:pt idx="2210">
                  <c:v>41.4</c:v>
                </c:pt>
                <c:pt idx="2211">
                  <c:v>24.08</c:v>
                </c:pt>
                <c:pt idx="2212">
                  <c:v>28.74</c:v>
                </c:pt>
                <c:pt idx="2213">
                  <c:v>23.47</c:v>
                </c:pt>
                <c:pt idx="2214">
                  <c:v>22.89</c:v>
                </c:pt>
                <c:pt idx="2215">
                  <c:v>30.47</c:v>
                </c:pt>
                <c:pt idx="2216">
                  <c:v>33.380000000000003</c:v>
                </c:pt>
                <c:pt idx="2217">
                  <c:v>41.38</c:v>
                </c:pt>
                <c:pt idx="2218">
                  <c:v>23.09</c:v>
                </c:pt>
                <c:pt idx="2219">
                  <c:v>48.220000000000013</c:v>
                </c:pt>
                <c:pt idx="2220">
                  <c:v>30.99</c:v>
                </c:pt>
                <c:pt idx="2221">
                  <c:v>18.279999999999987</c:v>
                </c:pt>
                <c:pt idx="2222">
                  <c:v>31.21</c:v>
                </c:pt>
                <c:pt idx="2223">
                  <c:v>28.35</c:v>
                </c:pt>
                <c:pt idx="2224">
                  <c:v>22.779999999999987</c:v>
                </c:pt>
                <c:pt idx="2225">
                  <c:v>24.5</c:v>
                </c:pt>
                <c:pt idx="2226">
                  <c:v>46.87</c:v>
                </c:pt>
                <c:pt idx="2227">
                  <c:v>21.97</c:v>
                </c:pt>
                <c:pt idx="2228">
                  <c:v>24.919999999999987</c:v>
                </c:pt>
                <c:pt idx="2229">
                  <c:v>24.49</c:v>
                </c:pt>
                <c:pt idx="2230">
                  <c:v>36.03</c:v>
                </c:pt>
                <c:pt idx="2231">
                  <c:v>25.65000000000002</c:v>
                </c:pt>
                <c:pt idx="2232">
                  <c:v>26.08</c:v>
                </c:pt>
                <c:pt idx="2233">
                  <c:v>30.77</c:v>
                </c:pt>
                <c:pt idx="2234">
                  <c:v>35.200000000000003</c:v>
                </c:pt>
                <c:pt idx="2235">
                  <c:v>28.12</c:v>
                </c:pt>
                <c:pt idx="2236">
                  <c:v>22.04</c:v>
                </c:pt>
                <c:pt idx="2237">
                  <c:v>32.94</c:v>
                </c:pt>
                <c:pt idx="2238">
                  <c:v>33.4</c:v>
                </c:pt>
                <c:pt idx="2239">
                  <c:v>15.53</c:v>
                </c:pt>
                <c:pt idx="2240">
                  <c:v>16.47</c:v>
                </c:pt>
                <c:pt idx="2241">
                  <c:v>30.32</c:v>
                </c:pt>
                <c:pt idx="2242">
                  <c:v>21.52</c:v>
                </c:pt>
                <c:pt idx="2243">
                  <c:v>26.34</c:v>
                </c:pt>
                <c:pt idx="2244">
                  <c:v>27.05</c:v>
                </c:pt>
                <c:pt idx="2245">
                  <c:v>35.93</c:v>
                </c:pt>
                <c:pt idx="2246">
                  <c:v>47.44</c:v>
                </c:pt>
                <c:pt idx="2247">
                  <c:v>23.29</c:v>
                </c:pt>
                <c:pt idx="2248">
                  <c:v>41.59</c:v>
                </c:pt>
                <c:pt idx="2249">
                  <c:v>16.190000000000001</c:v>
                </c:pt>
                <c:pt idx="2250">
                  <c:v>41.4</c:v>
                </c:pt>
                <c:pt idx="2251">
                  <c:v>14</c:v>
                </c:pt>
                <c:pt idx="2252">
                  <c:v>39.97</c:v>
                </c:pt>
                <c:pt idx="2253">
                  <c:v>27.6</c:v>
                </c:pt>
                <c:pt idx="2254">
                  <c:v>28.259999999999987</c:v>
                </c:pt>
                <c:pt idx="2255">
                  <c:v>25.57</c:v>
                </c:pt>
                <c:pt idx="2256">
                  <c:v>19.71</c:v>
                </c:pt>
                <c:pt idx="2257">
                  <c:v>28.39</c:v>
                </c:pt>
                <c:pt idx="2258">
                  <c:v>30.610000000000021</c:v>
                </c:pt>
                <c:pt idx="2259">
                  <c:v>34.74</c:v>
                </c:pt>
                <c:pt idx="2260">
                  <c:v>32.190000000000012</c:v>
                </c:pt>
                <c:pt idx="2261">
                  <c:v>37.260000000000012</c:v>
                </c:pt>
                <c:pt idx="2262">
                  <c:v>36.94</c:v>
                </c:pt>
                <c:pt idx="2263">
                  <c:v>14.52</c:v>
                </c:pt>
                <c:pt idx="2264">
                  <c:v>38.1</c:v>
                </c:pt>
                <c:pt idx="2265">
                  <c:v>17.59</c:v>
                </c:pt>
                <c:pt idx="2266">
                  <c:v>45.6</c:v>
                </c:pt>
                <c:pt idx="2267">
                  <c:v>25.55</c:v>
                </c:pt>
                <c:pt idx="2268">
                  <c:v>25.29</c:v>
                </c:pt>
                <c:pt idx="2269">
                  <c:v>29.03</c:v>
                </c:pt>
                <c:pt idx="2270">
                  <c:v>41.35</c:v>
                </c:pt>
                <c:pt idx="2271">
                  <c:v>25.29</c:v>
                </c:pt>
                <c:pt idx="2272">
                  <c:v>28.06</c:v>
                </c:pt>
                <c:pt idx="2273">
                  <c:v>16.12</c:v>
                </c:pt>
                <c:pt idx="2274">
                  <c:v>41.97</c:v>
                </c:pt>
                <c:pt idx="2275">
                  <c:v>47.21</c:v>
                </c:pt>
                <c:pt idx="2276">
                  <c:v>32.910000000000004</c:v>
                </c:pt>
                <c:pt idx="2277">
                  <c:v>30.1</c:v>
                </c:pt>
                <c:pt idx="2278">
                  <c:v>20.66</c:v>
                </c:pt>
                <c:pt idx="2279">
                  <c:v>29.89</c:v>
                </c:pt>
                <c:pt idx="2280">
                  <c:v>36.92</c:v>
                </c:pt>
                <c:pt idx="2281">
                  <c:v>28.08</c:v>
                </c:pt>
                <c:pt idx="2282">
                  <c:v>4.8899999999999997</c:v>
                </c:pt>
                <c:pt idx="2283">
                  <c:v>27.17</c:v>
                </c:pt>
                <c:pt idx="2284">
                  <c:v>10.39</c:v>
                </c:pt>
                <c:pt idx="2285">
                  <c:v>20.279999999999987</c:v>
                </c:pt>
                <c:pt idx="2286">
                  <c:v>35.980000000000004</c:v>
                </c:pt>
                <c:pt idx="2287">
                  <c:v>9.52</c:v>
                </c:pt>
                <c:pt idx="2288">
                  <c:v>24.71</c:v>
                </c:pt>
                <c:pt idx="2289">
                  <c:v>25.47</c:v>
                </c:pt>
                <c:pt idx="2290">
                  <c:v>27.330000000000005</c:v>
                </c:pt>
                <c:pt idx="2291">
                  <c:v>37.880000000000003</c:v>
                </c:pt>
                <c:pt idx="2292">
                  <c:v>26.66</c:v>
                </c:pt>
                <c:pt idx="2293">
                  <c:v>24.59</c:v>
                </c:pt>
                <c:pt idx="2294">
                  <c:v>24.22</c:v>
                </c:pt>
                <c:pt idx="2295">
                  <c:v>32.75</c:v>
                </c:pt>
                <c:pt idx="2296">
                  <c:v>25.77</c:v>
                </c:pt>
                <c:pt idx="2297">
                  <c:v>13.24</c:v>
                </c:pt>
                <c:pt idx="2298">
                  <c:v>15.58</c:v>
                </c:pt>
                <c:pt idx="2299">
                  <c:v>33.620000000000012</c:v>
                </c:pt>
                <c:pt idx="2300">
                  <c:v>26</c:v>
                </c:pt>
                <c:pt idx="2301">
                  <c:v>40.880000000000003</c:v>
                </c:pt>
                <c:pt idx="2302">
                  <c:v>51</c:v>
                </c:pt>
                <c:pt idx="2303">
                  <c:v>35.96</c:v>
                </c:pt>
                <c:pt idx="2304">
                  <c:v>30.9</c:v>
                </c:pt>
                <c:pt idx="2305">
                  <c:v>16.239999999999988</c:v>
                </c:pt>
                <c:pt idx="2306">
                  <c:v>33.050000000000004</c:v>
                </c:pt>
                <c:pt idx="2307">
                  <c:v>32.590000000000003</c:v>
                </c:pt>
                <c:pt idx="2308">
                  <c:v>34.99</c:v>
                </c:pt>
                <c:pt idx="2309">
                  <c:v>44.94</c:v>
                </c:pt>
                <c:pt idx="2310">
                  <c:v>45.78</c:v>
                </c:pt>
                <c:pt idx="2311">
                  <c:v>18.939999999999987</c:v>
                </c:pt>
                <c:pt idx="2312">
                  <c:v>36.21</c:v>
                </c:pt>
                <c:pt idx="2313">
                  <c:v>36.730000000000011</c:v>
                </c:pt>
                <c:pt idx="2314">
                  <c:v>15.17</c:v>
                </c:pt>
                <c:pt idx="2315">
                  <c:v>19.27</c:v>
                </c:pt>
                <c:pt idx="2316">
                  <c:v>25.65000000000002</c:v>
                </c:pt>
                <c:pt idx="2317">
                  <c:v>30.05</c:v>
                </c:pt>
                <c:pt idx="2318">
                  <c:v>28.27</c:v>
                </c:pt>
                <c:pt idx="2319">
                  <c:v>16.57</c:v>
                </c:pt>
                <c:pt idx="2320">
                  <c:v>30.53</c:v>
                </c:pt>
                <c:pt idx="2321">
                  <c:v>39.910000000000004</c:v>
                </c:pt>
                <c:pt idx="2322">
                  <c:v>22.2</c:v>
                </c:pt>
                <c:pt idx="2323">
                  <c:v>17.86</c:v>
                </c:pt>
                <c:pt idx="2324">
                  <c:v>29.439999999999987</c:v>
                </c:pt>
                <c:pt idx="2325">
                  <c:v>38.910000000000004</c:v>
                </c:pt>
                <c:pt idx="2326">
                  <c:v>31.610000000000021</c:v>
                </c:pt>
                <c:pt idx="2327">
                  <c:v>38.910000000000004</c:v>
                </c:pt>
                <c:pt idx="2328">
                  <c:v>17.71</c:v>
                </c:pt>
                <c:pt idx="2329">
                  <c:v>24.35</c:v>
                </c:pt>
                <c:pt idx="2330">
                  <c:v>24.15000000000002</c:v>
                </c:pt>
                <c:pt idx="2331">
                  <c:v>29.08</c:v>
                </c:pt>
                <c:pt idx="2332">
                  <c:v>24.99</c:v>
                </c:pt>
                <c:pt idx="2333">
                  <c:v>19.03</c:v>
                </c:pt>
                <c:pt idx="2334">
                  <c:v>21.939999999999987</c:v>
                </c:pt>
                <c:pt idx="2335">
                  <c:v>27.31000000000002</c:v>
                </c:pt>
                <c:pt idx="2336">
                  <c:v>25.91</c:v>
                </c:pt>
                <c:pt idx="2337">
                  <c:v>46.95</c:v>
                </c:pt>
                <c:pt idx="2338">
                  <c:v>23.47</c:v>
                </c:pt>
                <c:pt idx="2339">
                  <c:v>33.760000000000012</c:v>
                </c:pt>
                <c:pt idx="2340">
                  <c:v>36.92</c:v>
                </c:pt>
                <c:pt idx="2341">
                  <c:v>38.33</c:v>
                </c:pt>
                <c:pt idx="2342">
                  <c:v>9.59</c:v>
                </c:pt>
                <c:pt idx="2343">
                  <c:v>16.04</c:v>
                </c:pt>
                <c:pt idx="2344">
                  <c:v>19.21</c:v>
                </c:pt>
                <c:pt idx="2345">
                  <c:v>15.28</c:v>
                </c:pt>
                <c:pt idx="2346">
                  <c:v>-4.96</c:v>
                </c:pt>
                <c:pt idx="2347">
                  <c:v>33.99</c:v>
                </c:pt>
                <c:pt idx="2348">
                  <c:v>24.55</c:v>
                </c:pt>
                <c:pt idx="2349">
                  <c:v>24.9</c:v>
                </c:pt>
                <c:pt idx="2350">
                  <c:v>41.71</c:v>
                </c:pt>
                <c:pt idx="2351">
                  <c:v>29.95</c:v>
                </c:pt>
                <c:pt idx="2352">
                  <c:v>25.51</c:v>
                </c:pt>
                <c:pt idx="2353">
                  <c:v>37.93</c:v>
                </c:pt>
                <c:pt idx="2354">
                  <c:v>29.81000000000002</c:v>
                </c:pt>
                <c:pt idx="2355">
                  <c:v>29.74</c:v>
                </c:pt>
                <c:pt idx="2356">
                  <c:v>19.52</c:v>
                </c:pt>
                <c:pt idx="2357">
                  <c:v>30.32</c:v>
                </c:pt>
                <c:pt idx="2358">
                  <c:v>37.270000000000003</c:v>
                </c:pt>
                <c:pt idx="2359">
                  <c:v>42.75</c:v>
                </c:pt>
                <c:pt idx="2360">
                  <c:v>28.84</c:v>
                </c:pt>
                <c:pt idx="2361">
                  <c:v>40.03</c:v>
                </c:pt>
                <c:pt idx="2362">
                  <c:v>24.02</c:v>
                </c:pt>
                <c:pt idx="2363">
                  <c:v>33.75</c:v>
                </c:pt>
                <c:pt idx="2364">
                  <c:v>41.92</c:v>
                </c:pt>
                <c:pt idx="2365">
                  <c:v>21.29</c:v>
                </c:pt>
                <c:pt idx="2366">
                  <c:v>39.18</c:v>
                </c:pt>
                <c:pt idx="2367">
                  <c:v>16.100000000000001</c:v>
                </c:pt>
                <c:pt idx="2368">
                  <c:v>14.44</c:v>
                </c:pt>
                <c:pt idx="2369">
                  <c:v>43.97</c:v>
                </c:pt>
                <c:pt idx="2370">
                  <c:v>30.55</c:v>
                </c:pt>
                <c:pt idx="2371">
                  <c:v>44.620000000000012</c:v>
                </c:pt>
                <c:pt idx="2372">
                  <c:v>19.600000000000001</c:v>
                </c:pt>
                <c:pt idx="2373">
                  <c:v>45.74</c:v>
                </c:pt>
                <c:pt idx="2374">
                  <c:v>22.87</c:v>
                </c:pt>
                <c:pt idx="2375">
                  <c:v>22.34</c:v>
                </c:pt>
                <c:pt idx="2376">
                  <c:v>40.97</c:v>
                </c:pt>
                <c:pt idx="2377">
                  <c:v>37.42</c:v>
                </c:pt>
                <c:pt idx="2378">
                  <c:v>42.48</c:v>
                </c:pt>
                <c:pt idx="2379">
                  <c:v>52.63</c:v>
                </c:pt>
                <c:pt idx="2380">
                  <c:v>17.86</c:v>
                </c:pt>
                <c:pt idx="2381">
                  <c:v>29.14</c:v>
                </c:pt>
                <c:pt idx="2382">
                  <c:v>16.149999999999999</c:v>
                </c:pt>
                <c:pt idx="2383">
                  <c:v>45.690000000000012</c:v>
                </c:pt>
                <c:pt idx="2384">
                  <c:v>26.87</c:v>
                </c:pt>
                <c:pt idx="2385">
                  <c:v>39.910000000000004</c:v>
                </c:pt>
                <c:pt idx="2386">
                  <c:v>32.83</c:v>
                </c:pt>
                <c:pt idx="2387">
                  <c:v>34.950000000000003</c:v>
                </c:pt>
                <c:pt idx="2388">
                  <c:v>35.230000000000011</c:v>
                </c:pt>
                <c:pt idx="2389">
                  <c:v>31.830000000000005</c:v>
                </c:pt>
                <c:pt idx="2390">
                  <c:v>47.7</c:v>
                </c:pt>
                <c:pt idx="2391">
                  <c:v>26.110000000000021</c:v>
                </c:pt>
                <c:pt idx="2392">
                  <c:v>28.2</c:v>
                </c:pt>
                <c:pt idx="2393">
                  <c:v>40.790000000000013</c:v>
                </c:pt>
                <c:pt idx="2394">
                  <c:v>17.93</c:v>
                </c:pt>
                <c:pt idx="2395">
                  <c:v>37.96</c:v>
                </c:pt>
                <c:pt idx="2396">
                  <c:v>25.09</c:v>
                </c:pt>
                <c:pt idx="2397">
                  <c:v>22.68</c:v>
                </c:pt>
                <c:pt idx="2398">
                  <c:v>25.29</c:v>
                </c:pt>
                <c:pt idx="2399">
                  <c:v>26.07</c:v>
                </c:pt>
                <c:pt idx="2400">
                  <c:v>15.08</c:v>
                </c:pt>
                <c:pt idx="2401">
                  <c:v>25.15000000000002</c:v>
                </c:pt>
                <c:pt idx="2402">
                  <c:v>26.21</c:v>
                </c:pt>
                <c:pt idx="2403">
                  <c:v>41.98</c:v>
                </c:pt>
                <c:pt idx="2404">
                  <c:v>16.079999999999988</c:v>
                </c:pt>
                <c:pt idx="2405">
                  <c:v>26.66</c:v>
                </c:pt>
                <c:pt idx="2406">
                  <c:v>30.01</c:v>
                </c:pt>
                <c:pt idx="2407">
                  <c:v>25.09</c:v>
                </c:pt>
                <c:pt idx="2408">
                  <c:v>26.419999999999987</c:v>
                </c:pt>
                <c:pt idx="2409">
                  <c:v>23.69</c:v>
                </c:pt>
                <c:pt idx="2410">
                  <c:v>30.459999999999987</c:v>
                </c:pt>
                <c:pt idx="2411">
                  <c:v>31.93</c:v>
                </c:pt>
                <c:pt idx="2412">
                  <c:v>31.34</c:v>
                </c:pt>
                <c:pt idx="2413">
                  <c:v>25.939999999999987</c:v>
                </c:pt>
                <c:pt idx="2414">
                  <c:v>29.23</c:v>
                </c:pt>
                <c:pt idx="2415">
                  <c:v>47.660000000000011</c:v>
                </c:pt>
                <c:pt idx="2416">
                  <c:v>44.83</c:v>
                </c:pt>
                <c:pt idx="2417">
                  <c:v>43.230000000000011</c:v>
                </c:pt>
                <c:pt idx="2418">
                  <c:v>42.96</c:v>
                </c:pt>
                <c:pt idx="2419">
                  <c:v>43.34</c:v>
                </c:pt>
                <c:pt idx="2420">
                  <c:v>28.57</c:v>
                </c:pt>
                <c:pt idx="2421">
                  <c:v>39.760000000000012</c:v>
                </c:pt>
                <c:pt idx="2422">
                  <c:v>24.85</c:v>
                </c:pt>
                <c:pt idx="2423">
                  <c:v>20.2</c:v>
                </c:pt>
                <c:pt idx="2424">
                  <c:v>25.06</c:v>
                </c:pt>
                <c:pt idx="2425">
                  <c:v>19.03</c:v>
                </c:pt>
                <c:pt idx="2426">
                  <c:v>19.45</c:v>
                </c:pt>
                <c:pt idx="2427">
                  <c:v>22.62</c:v>
                </c:pt>
                <c:pt idx="2428">
                  <c:v>41.96</c:v>
                </c:pt>
                <c:pt idx="2429">
                  <c:v>17.27</c:v>
                </c:pt>
                <c:pt idx="2430">
                  <c:v>44.31</c:v>
                </c:pt>
                <c:pt idx="2431">
                  <c:v>33.260000000000012</c:v>
                </c:pt>
                <c:pt idx="2432">
                  <c:v>9.6</c:v>
                </c:pt>
                <c:pt idx="2433">
                  <c:v>38.93</c:v>
                </c:pt>
                <c:pt idx="2434">
                  <c:v>29.939999999999987</c:v>
                </c:pt>
                <c:pt idx="2435">
                  <c:v>35.220000000000013</c:v>
                </c:pt>
                <c:pt idx="2436">
                  <c:v>28.72</c:v>
                </c:pt>
                <c:pt idx="2437">
                  <c:v>15.62</c:v>
                </c:pt>
                <c:pt idx="2438">
                  <c:v>40.340000000000003</c:v>
                </c:pt>
                <c:pt idx="2439">
                  <c:v>38.65</c:v>
                </c:pt>
                <c:pt idx="2440">
                  <c:v>32.28</c:v>
                </c:pt>
                <c:pt idx="2441">
                  <c:v>24.66</c:v>
                </c:pt>
                <c:pt idx="2442">
                  <c:v>24.279999999999987</c:v>
                </c:pt>
                <c:pt idx="2443">
                  <c:v>25.29</c:v>
                </c:pt>
                <c:pt idx="2444">
                  <c:v>20.82</c:v>
                </c:pt>
                <c:pt idx="2445">
                  <c:v>27.959999999999987</c:v>
                </c:pt>
                <c:pt idx="2446">
                  <c:v>33.15</c:v>
                </c:pt>
                <c:pt idx="2447">
                  <c:v>22.979999999999986</c:v>
                </c:pt>
                <c:pt idx="2448">
                  <c:v>32.61</c:v>
                </c:pt>
                <c:pt idx="2449">
                  <c:v>33</c:v>
                </c:pt>
                <c:pt idx="2450">
                  <c:v>24</c:v>
                </c:pt>
                <c:pt idx="2451">
                  <c:v>22.93</c:v>
                </c:pt>
                <c:pt idx="2452">
                  <c:v>42.98</c:v>
                </c:pt>
                <c:pt idx="2453">
                  <c:v>26.56</c:v>
                </c:pt>
                <c:pt idx="2454">
                  <c:v>36.6</c:v>
                </c:pt>
                <c:pt idx="2455">
                  <c:v>23.979999999999986</c:v>
                </c:pt>
                <c:pt idx="2456">
                  <c:v>40.9</c:v>
                </c:pt>
                <c:pt idx="2457">
                  <c:v>19.010000000000005</c:v>
                </c:pt>
                <c:pt idx="2458">
                  <c:v>26.99</c:v>
                </c:pt>
                <c:pt idx="2459">
                  <c:v>42.31</c:v>
                </c:pt>
                <c:pt idx="2460">
                  <c:v>29.439999999999987</c:v>
                </c:pt>
                <c:pt idx="2461">
                  <c:v>31.08</c:v>
                </c:pt>
                <c:pt idx="2462">
                  <c:v>38.190000000000012</c:v>
                </c:pt>
                <c:pt idx="2463">
                  <c:v>22.06</c:v>
                </c:pt>
                <c:pt idx="2464">
                  <c:v>2.52</c:v>
                </c:pt>
                <c:pt idx="2465">
                  <c:v>31.16</c:v>
                </c:pt>
                <c:pt idx="2466">
                  <c:v>27.34</c:v>
                </c:pt>
                <c:pt idx="2467">
                  <c:v>24.479999999999986</c:v>
                </c:pt>
                <c:pt idx="2468">
                  <c:v>39.730000000000011</c:v>
                </c:pt>
                <c:pt idx="2469">
                  <c:v>26.68</c:v>
                </c:pt>
                <c:pt idx="2470">
                  <c:v>42.99</c:v>
                </c:pt>
                <c:pt idx="2471">
                  <c:v>23.7</c:v>
                </c:pt>
                <c:pt idx="2472">
                  <c:v>23.05</c:v>
                </c:pt>
                <c:pt idx="2473">
                  <c:v>40.020000000000003</c:v>
                </c:pt>
                <c:pt idx="2474">
                  <c:v>31.02</c:v>
                </c:pt>
                <c:pt idx="2475">
                  <c:v>24.34</c:v>
                </c:pt>
                <c:pt idx="2476">
                  <c:v>21.72</c:v>
                </c:pt>
                <c:pt idx="2477">
                  <c:v>31.479999999999986</c:v>
                </c:pt>
                <c:pt idx="2478">
                  <c:v>30.2</c:v>
                </c:pt>
                <c:pt idx="2479">
                  <c:v>35.32</c:v>
                </c:pt>
                <c:pt idx="2480">
                  <c:v>36.35</c:v>
                </c:pt>
                <c:pt idx="2481">
                  <c:v>16</c:v>
                </c:pt>
                <c:pt idx="2482">
                  <c:v>12.03</c:v>
                </c:pt>
                <c:pt idx="2483">
                  <c:v>27.56</c:v>
                </c:pt>
                <c:pt idx="2484">
                  <c:v>29.919999999999987</c:v>
                </c:pt>
                <c:pt idx="2485">
                  <c:v>44.95</c:v>
                </c:pt>
                <c:pt idx="2486">
                  <c:v>25.3</c:v>
                </c:pt>
                <c:pt idx="2487">
                  <c:v>28.07</c:v>
                </c:pt>
                <c:pt idx="2488">
                  <c:v>39.92</c:v>
                </c:pt>
                <c:pt idx="2489">
                  <c:v>39.99</c:v>
                </c:pt>
                <c:pt idx="2490">
                  <c:v>23.51</c:v>
                </c:pt>
                <c:pt idx="2491">
                  <c:v>27.110000000000021</c:v>
                </c:pt>
                <c:pt idx="2492">
                  <c:v>29.69</c:v>
                </c:pt>
                <c:pt idx="2493">
                  <c:v>46.120000000000012</c:v>
                </c:pt>
                <c:pt idx="2494">
                  <c:v>28.47</c:v>
                </c:pt>
                <c:pt idx="2495">
                  <c:v>27.49</c:v>
                </c:pt>
                <c:pt idx="2496">
                  <c:v>33.01</c:v>
                </c:pt>
                <c:pt idx="2497">
                  <c:v>38</c:v>
                </c:pt>
                <c:pt idx="2498">
                  <c:v>27.479999999999986</c:v>
                </c:pt>
                <c:pt idx="2499">
                  <c:v>24.93</c:v>
                </c:pt>
                <c:pt idx="2500">
                  <c:v>14.3</c:v>
                </c:pt>
                <c:pt idx="2501">
                  <c:v>16.47</c:v>
                </c:pt>
                <c:pt idx="2502">
                  <c:v>25.06</c:v>
                </c:pt>
                <c:pt idx="2503">
                  <c:v>26.84</c:v>
                </c:pt>
                <c:pt idx="2504">
                  <c:v>39.910000000000004</c:v>
                </c:pt>
                <c:pt idx="2505">
                  <c:v>26.37</c:v>
                </c:pt>
                <c:pt idx="2506">
                  <c:v>34.99</c:v>
                </c:pt>
                <c:pt idx="2507">
                  <c:v>42.37</c:v>
                </c:pt>
                <c:pt idx="2508">
                  <c:v>35.64</c:v>
                </c:pt>
                <c:pt idx="2509">
                  <c:v>45.47</c:v>
                </c:pt>
                <c:pt idx="2510">
                  <c:v>39.97</c:v>
                </c:pt>
                <c:pt idx="2511">
                  <c:v>32.18</c:v>
                </c:pt>
                <c:pt idx="2512">
                  <c:v>47</c:v>
                </c:pt>
                <c:pt idx="2513">
                  <c:v>27.03</c:v>
                </c:pt>
                <c:pt idx="2514">
                  <c:v>32.840000000000003</c:v>
                </c:pt>
                <c:pt idx="2515">
                  <c:v>19.110000000000021</c:v>
                </c:pt>
                <c:pt idx="2516">
                  <c:v>36.980000000000004</c:v>
                </c:pt>
                <c:pt idx="2517">
                  <c:v>23.73</c:v>
                </c:pt>
                <c:pt idx="2518">
                  <c:v>42.02</c:v>
                </c:pt>
                <c:pt idx="2519">
                  <c:v>24.53</c:v>
                </c:pt>
                <c:pt idx="2520">
                  <c:v>12.16</c:v>
                </c:pt>
                <c:pt idx="2521">
                  <c:v>28.91</c:v>
                </c:pt>
                <c:pt idx="2522">
                  <c:v>29.34</c:v>
                </c:pt>
                <c:pt idx="2523">
                  <c:v>39.03</c:v>
                </c:pt>
                <c:pt idx="2524">
                  <c:v>30.05</c:v>
                </c:pt>
                <c:pt idx="2525">
                  <c:v>31.29</c:v>
                </c:pt>
                <c:pt idx="2526">
                  <c:v>30.939999999999987</c:v>
                </c:pt>
                <c:pt idx="2527">
                  <c:v>22.17</c:v>
                </c:pt>
                <c:pt idx="2528">
                  <c:v>25.56</c:v>
                </c:pt>
                <c:pt idx="2529">
                  <c:v>27.37</c:v>
                </c:pt>
                <c:pt idx="2530">
                  <c:v>52.91</c:v>
                </c:pt>
                <c:pt idx="2531">
                  <c:v>38.04</c:v>
                </c:pt>
                <c:pt idx="2532">
                  <c:v>36.94</c:v>
                </c:pt>
                <c:pt idx="2533">
                  <c:v>42</c:v>
                </c:pt>
                <c:pt idx="2534">
                  <c:v>29.72</c:v>
                </c:pt>
                <c:pt idx="2535">
                  <c:v>24.04</c:v>
                </c:pt>
                <c:pt idx="2536">
                  <c:v>21.419999999999987</c:v>
                </c:pt>
                <c:pt idx="2537">
                  <c:v>40.97</c:v>
                </c:pt>
                <c:pt idx="2538">
                  <c:v>38.74</c:v>
                </c:pt>
                <c:pt idx="2539">
                  <c:v>39.14</c:v>
                </c:pt>
                <c:pt idx="2540">
                  <c:v>31.73</c:v>
                </c:pt>
                <c:pt idx="2541">
                  <c:v>57.98</c:v>
                </c:pt>
                <c:pt idx="2542">
                  <c:v>37.410000000000004</c:v>
                </c:pt>
                <c:pt idx="2543">
                  <c:v>23.71</c:v>
                </c:pt>
                <c:pt idx="2544">
                  <c:v>16.14</c:v>
                </c:pt>
                <c:pt idx="2545">
                  <c:v>44.4</c:v>
                </c:pt>
                <c:pt idx="2546">
                  <c:v>19.779999999999987</c:v>
                </c:pt>
                <c:pt idx="2547">
                  <c:v>31.09</c:v>
                </c:pt>
                <c:pt idx="2548">
                  <c:v>39.340000000000003</c:v>
                </c:pt>
                <c:pt idx="2549">
                  <c:v>31.37</c:v>
                </c:pt>
                <c:pt idx="2550">
                  <c:v>35.94</c:v>
                </c:pt>
                <c:pt idx="2551">
                  <c:v>45.52</c:v>
                </c:pt>
                <c:pt idx="2552">
                  <c:v>34.99</c:v>
                </c:pt>
                <c:pt idx="2553">
                  <c:v>30.14</c:v>
                </c:pt>
                <c:pt idx="2554">
                  <c:v>29.88</c:v>
                </c:pt>
                <c:pt idx="2555">
                  <c:v>13.01</c:v>
                </c:pt>
                <c:pt idx="2556">
                  <c:v>32.9</c:v>
                </c:pt>
                <c:pt idx="2557">
                  <c:v>17.059999999999999</c:v>
                </c:pt>
                <c:pt idx="2558">
                  <c:v>34.64</c:v>
                </c:pt>
                <c:pt idx="2559">
                  <c:v>24.2</c:v>
                </c:pt>
                <c:pt idx="2560">
                  <c:v>39.550000000000004</c:v>
                </c:pt>
                <c:pt idx="2561">
                  <c:v>41.98</c:v>
                </c:pt>
                <c:pt idx="2562">
                  <c:v>19.98999999999997</c:v>
                </c:pt>
                <c:pt idx="2563">
                  <c:v>28.31000000000002</c:v>
                </c:pt>
                <c:pt idx="2564">
                  <c:v>-6.55</c:v>
                </c:pt>
                <c:pt idx="2565">
                  <c:v>34.380000000000003</c:v>
                </c:pt>
                <c:pt idx="2566">
                  <c:v>45.1</c:v>
                </c:pt>
                <c:pt idx="2567">
                  <c:v>27.18</c:v>
                </c:pt>
                <c:pt idx="2568">
                  <c:v>28.89</c:v>
                </c:pt>
                <c:pt idx="2569">
                  <c:v>20.479999999999986</c:v>
                </c:pt>
                <c:pt idx="2570">
                  <c:v>26.939999999999987</c:v>
                </c:pt>
                <c:pt idx="2571">
                  <c:v>38</c:v>
                </c:pt>
                <c:pt idx="2572">
                  <c:v>16.88</c:v>
                </c:pt>
                <c:pt idx="2573">
                  <c:v>27.919999999999987</c:v>
                </c:pt>
                <c:pt idx="2574">
                  <c:v>23.759999999999987</c:v>
                </c:pt>
                <c:pt idx="2575">
                  <c:v>30.68</c:v>
                </c:pt>
                <c:pt idx="2576">
                  <c:v>45.87</c:v>
                </c:pt>
                <c:pt idx="2577">
                  <c:v>30.959999999999987</c:v>
                </c:pt>
                <c:pt idx="2578">
                  <c:v>17.010000000000005</c:v>
                </c:pt>
                <c:pt idx="2579">
                  <c:v>34.410000000000004</c:v>
                </c:pt>
                <c:pt idx="2580">
                  <c:v>28.779999999999987</c:v>
                </c:pt>
                <c:pt idx="2581">
                  <c:v>43</c:v>
                </c:pt>
                <c:pt idx="2582">
                  <c:v>39.200000000000003</c:v>
                </c:pt>
                <c:pt idx="2583">
                  <c:v>32.17</c:v>
                </c:pt>
                <c:pt idx="2584">
                  <c:v>37.880000000000003</c:v>
                </c:pt>
                <c:pt idx="2585">
                  <c:v>48.81</c:v>
                </c:pt>
                <c:pt idx="2586">
                  <c:v>27.279999999999987</c:v>
                </c:pt>
                <c:pt idx="2587">
                  <c:v>24.02</c:v>
                </c:pt>
                <c:pt idx="2588">
                  <c:v>25.939999999999987</c:v>
                </c:pt>
                <c:pt idx="2589">
                  <c:v>12.17</c:v>
                </c:pt>
                <c:pt idx="2590">
                  <c:v>20.36</c:v>
                </c:pt>
                <c:pt idx="2591">
                  <c:v>24.51</c:v>
                </c:pt>
                <c:pt idx="2592">
                  <c:v>36.090000000000003</c:v>
                </c:pt>
                <c:pt idx="2593">
                  <c:v>27.93</c:v>
                </c:pt>
                <c:pt idx="2594">
                  <c:v>25</c:v>
                </c:pt>
                <c:pt idx="2595">
                  <c:v>10.06</c:v>
                </c:pt>
                <c:pt idx="2596">
                  <c:v>42.44</c:v>
                </c:pt>
                <c:pt idx="2597">
                  <c:v>46.99</c:v>
                </c:pt>
                <c:pt idx="2598">
                  <c:v>36.690000000000012</c:v>
                </c:pt>
                <c:pt idx="2599">
                  <c:v>31.05</c:v>
                </c:pt>
                <c:pt idx="2600">
                  <c:v>33.410000000000004</c:v>
                </c:pt>
                <c:pt idx="2601">
                  <c:v>42.93</c:v>
                </c:pt>
                <c:pt idx="2602">
                  <c:v>44.61</c:v>
                </c:pt>
                <c:pt idx="2603">
                  <c:v>26.22</c:v>
                </c:pt>
                <c:pt idx="2604">
                  <c:v>22.59</c:v>
                </c:pt>
                <c:pt idx="2605">
                  <c:v>13.29</c:v>
                </c:pt>
                <c:pt idx="2606">
                  <c:v>12.35000000000001</c:v>
                </c:pt>
                <c:pt idx="2607">
                  <c:v>17.059999999999999</c:v>
                </c:pt>
                <c:pt idx="2608">
                  <c:v>42.44</c:v>
                </c:pt>
                <c:pt idx="2609">
                  <c:v>14.68</c:v>
                </c:pt>
                <c:pt idx="2610">
                  <c:v>35.090000000000003</c:v>
                </c:pt>
                <c:pt idx="2611">
                  <c:v>31.54</c:v>
                </c:pt>
                <c:pt idx="2612">
                  <c:v>23.08</c:v>
                </c:pt>
                <c:pt idx="2613">
                  <c:v>37.49</c:v>
                </c:pt>
                <c:pt idx="2614">
                  <c:v>34.01</c:v>
                </c:pt>
                <c:pt idx="2615">
                  <c:v>24.939999999999987</c:v>
                </c:pt>
                <c:pt idx="2616">
                  <c:v>29.43</c:v>
                </c:pt>
                <c:pt idx="2617">
                  <c:v>31.63000000000002</c:v>
                </c:pt>
                <c:pt idx="2618">
                  <c:v>16.52</c:v>
                </c:pt>
                <c:pt idx="2619">
                  <c:v>30.08</c:v>
                </c:pt>
                <c:pt idx="2620">
                  <c:v>25.919999999999987</c:v>
                </c:pt>
                <c:pt idx="2621">
                  <c:v>23.3</c:v>
                </c:pt>
                <c:pt idx="2622">
                  <c:v>31.830000000000005</c:v>
                </c:pt>
                <c:pt idx="2623">
                  <c:v>53.14</c:v>
                </c:pt>
                <c:pt idx="2624">
                  <c:v>38.15</c:v>
                </c:pt>
                <c:pt idx="2625">
                  <c:v>37.950000000000003</c:v>
                </c:pt>
                <c:pt idx="2626">
                  <c:v>28.02</c:v>
                </c:pt>
                <c:pt idx="2627">
                  <c:v>28.479999999999986</c:v>
                </c:pt>
                <c:pt idx="2628">
                  <c:v>34.85</c:v>
                </c:pt>
                <c:pt idx="2629">
                  <c:v>45.45</c:v>
                </c:pt>
                <c:pt idx="2630">
                  <c:v>32.5</c:v>
                </c:pt>
                <c:pt idx="2631">
                  <c:v>22.610000000000021</c:v>
                </c:pt>
                <c:pt idx="2632">
                  <c:v>25.19</c:v>
                </c:pt>
                <c:pt idx="2633">
                  <c:v>41.790000000000013</c:v>
                </c:pt>
                <c:pt idx="2634">
                  <c:v>45.1</c:v>
                </c:pt>
                <c:pt idx="2635">
                  <c:v>43.92</c:v>
                </c:pt>
                <c:pt idx="2636">
                  <c:v>30.479999999999986</c:v>
                </c:pt>
                <c:pt idx="2637">
                  <c:v>31.7</c:v>
                </c:pt>
                <c:pt idx="2638">
                  <c:v>40.720000000000013</c:v>
                </c:pt>
                <c:pt idx="2639">
                  <c:v>34.31</c:v>
                </c:pt>
                <c:pt idx="2640">
                  <c:v>54.95</c:v>
                </c:pt>
                <c:pt idx="2641">
                  <c:v>32.01</c:v>
                </c:pt>
                <c:pt idx="2642">
                  <c:v>44.94</c:v>
                </c:pt>
                <c:pt idx="2643">
                  <c:v>33.290000000000013</c:v>
                </c:pt>
                <c:pt idx="2644">
                  <c:v>48.99</c:v>
                </c:pt>
                <c:pt idx="2645">
                  <c:v>27.58</c:v>
                </c:pt>
                <c:pt idx="2646">
                  <c:v>28.13000000000002</c:v>
                </c:pt>
                <c:pt idx="2647">
                  <c:v>29.95</c:v>
                </c:pt>
                <c:pt idx="2648">
                  <c:v>14.3</c:v>
                </c:pt>
                <c:pt idx="2649">
                  <c:v>10.130000000000001</c:v>
                </c:pt>
                <c:pt idx="2650">
                  <c:v>34.14</c:v>
                </c:pt>
                <c:pt idx="2651">
                  <c:v>23.57</c:v>
                </c:pt>
                <c:pt idx="2652">
                  <c:v>32.520000000000003</c:v>
                </c:pt>
                <c:pt idx="2653">
                  <c:v>15.91</c:v>
                </c:pt>
                <c:pt idx="2654">
                  <c:v>28.45</c:v>
                </c:pt>
                <c:pt idx="2655">
                  <c:v>53.89</c:v>
                </c:pt>
                <c:pt idx="2656">
                  <c:v>28.39</c:v>
                </c:pt>
                <c:pt idx="2657">
                  <c:v>47.93</c:v>
                </c:pt>
                <c:pt idx="2658">
                  <c:v>34.99</c:v>
                </c:pt>
                <c:pt idx="2659">
                  <c:v>42.47</c:v>
                </c:pt>
                <c:pt idx="2660">
                  <c:v>16.170000000000005</c:v>
                </c:pt>
                <c:pt idx="2661">
                  <c:v>24.03</c:v>
                </c:pt>
                <c:pt idx="2662">
                  <c:v>25.32</c:v>
                </c:pt>
                <c:pt idx="2663">
                  <c:v>28.27</c:v>
                </c:pt>
                <c:pt idx="2664">
                  <c:v>32.07</c:v>
                </c:pt>
                <c:pt idx="2665">
                  <c:v>30.55</c:v>
                </c:pt>
                <c:pt idx="2666">
                  <c:v>20.5</c:v>
                </c:pt>
                <c:pt idx="2667">
                  <c:v>11.370000000000006</c:v>
                </c:pt>
                <c:pt idx="2668">
                  <c:v>28.19</c:v>
                </c:pt>
                <c:pt idx="2669">
                  <c:v>28.91</c:v>
                </c:pt>
                <c:pt idx="2670">
                  <c:v>29.279999999999987</c:v>
                </c:pt>
                <c:pt idx="2671">
                  <c:v>37.93</c:v>
                </c:pt>
                <c:pt idx="2672">
                  <c:v>25.02</c:v>
                </c:pt>
                <c:pt idx="2673">
                  <c:v>38.31</c:v>
                </c:pt>
                <c:pt idx="2674">
                  <c:v>22.93</c:v>
                </c:pt>
                <c:pt idx="2675">
                  <c:v>12.01</c:v>
                </c:pt>
                <c:pt idx="2676">
                  <c:v>52.58</c:v>
                </c:pt>
                <c:pt idx="2677">
                  <c:v>24.32</c:v>
                </c:pt>
                <c:pt idx="2678">
                  <c:v>40.86</c:v>
                </c:pt>
                <c:pt idx="2679">
                  <c:v>30.610000000000021</c:v>
                </c:pt>
                <c:pt idx="2680">
                  <c:v>41.720000000000013</c:v>
                </c:pt>
                <c:pt idx="2681">
                  <c:v>14.82</c:v>
                </c:pt>
                <c:pt idx="2682">
                  <c:v>38.46</c:v>
                </c:pt>
                <c:pt idx="2683">
                  <c:v>38.94</c:v>
                </c:pt>
                <c:pt idx="2684">
                  <c:v>24.24</c:v>
                </c:pt>
                <c:pt idx="2685">
                  <c:v>15.57</c:v>
                </c:pt>
                <c:pt idx="2686">
                  <c:v>22.35</c:v>
                </c:pt>
                <c:pt idx="2687">
                  <c:v>39.18</c:v>
                </c:pt>
                <c:pt idx="2688">
                  <c:v>40.94</c:v>
                </c:pt>
                <c:pt idx="2689">
                  <c:v>27.979999999999986</c:v>
                </c:pt>
                <c:pt idx="2690">
                  <c:v>24.06</c:v>
                </c:pt>
                <c:pt idx="2691">
                  <c:v>30.58</c:v>
                </c:pt>
                <c:pt idx="2692">
                  <c:v>18.010000000000005</c:v>
                </c:pt>
                <c:pt idx="2693">
                  <c:v>23.97</c:v>
                </c:pt>
                <c:pt idx="2694">
                  <c:v>22.01</c:v>
                </c:pt>
                <c:pt idx="2695">
                  <c:v>43.160000000000011</c:v>
                </c:pt>
                <c:pt idx="2696">
                  <c:v>16.09</c:v>
                </c:pt>
                <c:pt idx="2697">
                  <c:v>23.23</c:v>
                </c:pt>
                <c:pt idx="2698">
                  <c:v>32.270000000000003</c:v>
                </c:pt>
                <c:pt idx="2699">
                  <c:v>43.96</c:v>
                </c:pt>
                <c:pt idx="2700">
                  <c:v>16.75</c:v>
                </c:pt>
                <c:pt idx="2701">
                  <c:v>29.08</c:v>
                </c:pt>
                <c:pt idx="2702">
                  <c:v>27.91</c:v>
                </c:pt>
                <c:pt idx="2703">
                  <c:v>16.73</c:v>
                </c:pt>
                <c:pt idx="2704">
                  <c:v>37.61</c:v>
                </c:pt>
                <c:pt idx="2705">
                  <c:v>49.1</c:v>
                </c:pt>
                <c:pt idx="2706">
                  <c:v>28.19</c:v>
                </c:pt>
                <c:pt idx="2707">
                  <c:v>44.02</c:v>
                </c:pt>
                <c:pt idx="2708">
                  <c:v>35.07</c:v>
                </c:pt>
                <c:pt idx="2709">
                  <c:v>15.51</c:v>
                </c:pt>
                <c:pt idx="2710">
                  <c:v>10.07</c:v>
                </c:pt>
                <c:pt idx="2711">
                  <c:v>37.950000000000003</c:v>
                </c:pt>
                <c:pt idx="2712">
                  <c:v>35.550000000000004</c:v>
                </c:pt>
                <c:pt idx="2713">
                  <c:v>25.07</c:v>
                </c:pt>
                <c:pt idx="2714">
                  <c:v>39.5</c:v>
                </c:pt>
                <c:pt idx="2715">
                  <c:v>38.700000000000003</c:v>
                </c:pt>
                <c:pt idx="2716">
                  <c:v>31.72</c:v>
                </c:pt>
                <c:pt idx="2717">
                  <c:v>27.12</c:v>
                </c:pt>
                <c:pt idx="2718">
                  <c:v>31.21</c:v>
                </c:pt>
                <c:pt idx="2719">
                  <c:v>27.45</c:v>
                </c:pt>
                <c:pt idx="2720">
                  <c:v>41.67</c:v>
                </c:pt>
                <c:pt idx="2721">
                  <c:v>42.09</c:v>
                </c:pt>
                <c:pt idx="2722">
                  <c:v>40.04</c:v>
                </c:pt>
                <c:pt idx="2723">
                  <c:v>17.43</c:v>
                </c:pt>
                <c:pt idx="2724">
                  <c:v>41.51</c:v>
                </c:pt>
                <c:pt idx="2725">
                  <c:v>29.72</c:v>
                </c:pt>
                <c:pt idx="2726">
                  <c:v>32.53</c:v>
                </c:pt>
                <c:pt idx="2727">
                  <c:v>20.81000000000002</c:v>
                </c:pt>
                <c:pt idx="2728">
                  <c:v>12.39</c:v>
                </c:pt>
                <c:pt idx="2729">
                  <c:v>26.72</c:v>
                </c:pt>
                <c:pt idx="2730">
                  <c:v>23.86</c:v>
                </c:pt>
                <c:pt idx="2731">
                  <c:v>28.51</c:v>
                </c:pt>
                <c:pt idx="2732">
                  <c:v>18.63000000000002</c:v>
                </c:pt>
                <c:pt idx="2733">
                  <c:v>46</c:v>
                </c:pt>
                <c:pt idx="2734">
                  <c:v>39.800000000000004</c:v>
                </c:pt>
                <c:pt idx="2735">
                  <c:v>16.010000000000005</c:v>
                </c:pt>
                <c:pt idx="2736">
                  <c:v>30.939999999999987</c:v>
                </c:pt>
                <c:pt idx="2737">
                  <c:v>14.04</c:v>
                </c:pt>
                <c:pt idx="2738">
                  <c:v>27.759999999999987</c:v>
                </c:pt>
                <c:pt idx="2739">
                  <c:v>22.43</c:v>
                </c:pt>
                <c:pt idx="2740">
                  <c:v>24.08</c:v>
                </c:pt>
                <c:pt idx="2741">
                  <c:v>45.28</c:v>
                </c:pt>
                <c:pt idx="2742">
                  <c:v>19.47</c:v>
                </c:pt>
                <c:pt idx="2743">
                  <c:v>44.39</c:v>
                </c:pt>
                <c:pt idx="2744">
                  <c:v>24.08</c:v>
                </c:pt>
                <c:pt idx="2745">
                  <c:v>25.36</c:v>
                </c:pt>
                <c:pt idx="2746">
                  <c:v>25.06</c:v>
                </c:pt>
                <c:pt idx="2747">
                  <c:v>23.55</c:v>
                </c:pt>
                <c:pt idx="2748">
                  <c:v>31</c:v>
                </c:pt>
                <c:pt idx="2749">
                  <c:v>38.020000000000003</c:v>
                </c:pt>
                <c:pt idx="2750">
                  <c:v>24.49</c:v>
                </c:pt>
                <c:pt idx="2751">
                  <c:v>25.9</c:v>
                </c:pt>
                <c:pt idx="2752">
                  <c:v>30.07</c:v>
                </c:pt>
                <c:pt idx="2753">
                  <c:v>41.1</c:v>
                </c:pt>
                <c:pt idx="2754">
                  <c:v>23.02</c:v>
                </c:pt>
                <c:pt idx="2755">
                  <c:v>44.2</c:v>
                </c:pt>
                <c:pt idx="2756">
                  <c:v>39</c:v>
                </c:pt>
                <c:pt idx="2757">
                  <c:v>35.94</c:v>
                </c:pt>
                <c:pt idx="2758">
                  <c:v>40.03</c:v>
                </c:pt>
                <c:pt idx="2759">
                  <c:v>25.62</c:v>
                </c:pt>
                <c:pt idx="2760">
                  <c:v>40</c:v>
                </c:pt>
                <c:pt idx="2761">
                  <c:v>42.95</c:v>
                </c:pt>
                <c:pt idx="2762">
                  <c:v>26.58</c:v>
                </c:pt>
                <c:pt idx="2763">
                  <c:v>17.939999999999987</c:v>
                </c:pt>
                <c:pt idx="2764">
                  <c:v>26.72</c:v>
                </c:pt>
                <c:pt idx="2765">
                  <c:v>24.53</c:v>
                </c:pt>
                <c:pt idx="2766">
                  <c:v>25.21</c:v>
                </c:pt>
                <c:pt idx="2767">
                  <c:v>24.65000000000002</c:v>
                </c:pt>
                <c:pt idx="2768">
                  <c:v>48.4</c:v>
                </c:pt>
                <c:pt idx="2769">
                  <c:v>58.55</c:v>
                </c:pt>
                <c:pt idx="2770">
                  <c:v>46.44</c:v>
                </c:pt>
                <c:pt idx="2771">
                  <c:v>25.08</c:v>
                </c:pt>
                <c:pt idx="2772">
                  <c:v>42.44</c:v>
                </c:pt>
                <c:pt idx="2773">
                  <c:v>26.02</c:v>
                </c:pt>
                <c:pt idx="2774">
                  <c:v>36.690000000000012</c:v>
                </c:pt>
                <c:pt idx="2775">
                  <c:v>21.03</c:v>
                </c:pt>
                <c:pt idx="2776">
                  <c:v>27.43</c:v>
                </c:pt>
                <c:pt idx="2777">
                  <c:v>51.13</c:v>
                </c:pt>
                <c:pt idx="2778">
                  <c:v>27.15000000000002</c:v>
                </c:pt>
                <c:pt idx="2779">
                  <c:v>45.44</c:v>
                </c:pt>
                <c:pt idx="2780">
                  <c:v>46.59</c:v>
                </c:pt>
                <c:pt idx="2781">
                  <c:v>41.91</c:v>
                </c:pt>
                <c:pt idx="2782">
                  <c:v>36.39</c:v>
                </c:pt>
                <c:pt idx="2783">
                  <c:v>29.93</c:v>
                </c:pt>
                <c:pt idx="2784">
                  <c:v>26.03</c:v>
                </c:pt>
                <c:pt idx="2785">
                  <c:v>45</c:v>
                </c:pt>
                <c:pt idx="2786">
                  <c:v>48.92</c:v>
                </c:pt>
                <c:pt idx="2787">
                  <c:v>27.59</c:v>
                </c:pt>
                <c:pt idx="2788">
                  <c:v>46.95</c:v>
                </c:pt>
                <c:pt idx="2789">
                  <c:v>40.130000000000003</c:v>
                </c:pt>
                <c:pt idx="2790">
                  <c:v>29.13000000000002</c:v>
                </c:pt>
                <c:pt idx="2791">
                  <c:v>27.43</c:v>
                </c:pt>
                <c:pt idx="2792">
                  <c:v>46.67</c:v>
                </c:pt>
                <c:pt idx="2793">
                  <c:v>37.99</c:v>
                </c:pt>
                <c:pt idx="2794">
                  <c:v>40.870000000000005</c:v>
                </c:pt>
                <c:pt idx="2795">
                  <c:v>30.979999999999986</c:v>
                </c:pt>
                <c:pt idx="2796">
                  <c:v>36.93</c:v>
                </c:pt>
                <c:pt idx="2797">
                  <c:v>35.380000000000003</c:v>
                </c:pt>
                <c:pt idx="2798">
                  <c:v>33.33</c:v>
                </c:pt>
                <c:pt idx="2799">
                  <c:v>17.14</c:v>
                </c:pt>
                <c:pt idx="2800">
                  <c:v>34.090000000000003</c:v>
                </c:pt>
                <c:pt idx="2801">
                  <c:v>21.939999999999987</c:v>
                </c:pt>
                <c:pt idx="2802">
                  <c:v>37.92</c:v>
                </c:pt>
                <c:pt idx="2803">
                  <c:v>47.06</c:v>
                </c:pt>
                <c:pt idx="2804">
                  <c:v>29.97</c:v>
                </c:pt>
                <c:pt idx="2805">
                  <c:v>34.96</c:v>
                </c:pt>
                <c:pt idx="2806">
                  <c:v>56.68</c:v>
                </c:pt>
                <c:pt idx="2807">
                  <c:v>20.779999999999987</c:v>
                </c:pt>
                <c:pt idx="2808">
                  <c:v>25.35</c:v>
                </c:pt>
                <c:pt idx="2809">
                  <c:v>8.0000000000000043E-2</c:v>
                </c:pt>
                <c:pt idx="2810">
                  <c:v>2.0699999999999998</c:v>
                </c:pt>
                <c:pt idx="2811">
                  <c:v>27.01</c:v>
                </c:pt>
                <c:pt idx="2812">
                  <c:v>47.93</c:v>
                </c:pt>
                <c:pt idx="2813">
                  <c:v>6.18</c:v>
                </c:pt>
                <c:pt idx="2814">
                  <c:v>44.92</c:v>
                </c:pt>
                <c:pt idx="2815">
                  <c:v>30.95</c:v>
                </c:pt>
                <c:pt idx="2816">
                  <c:v>29.27</c:v>
                </c:pt>
                <c:pt idx="2817">
                  <c:v>28.55</c:v>
                </c:pt>
                <c:pt idx="2818">
                  <c:v>46.2</c:v>
                </c:pt>
                <c:pt idx="2819">
                  <c:v>29.88</c:v>
                </c:pt>
                <c:pt idx="2820">
                  <c:v>34.33</c:v>
                </c:pt>
                <c:pt idx="2821">
                  <c:v>23.259999999999987</c:v>
                </c:pt>
                <c:pt idx="2822">
                  <c:v>50.45</c:v>
                </c:pt>
                <c:pt idx="2823">
                  <c:v>22.7</c:v>
                </c:pt>
                <c:pt idx="2824">
                  <c:v>31.65000000000002</c:v>
                </c:pt>
                <c:pt idx="2825">
                  <c:v>29</c:v>
                </c:pt>
                <c:pt idx="2826">
                  <c:v>30.09</c:v>
                </c:pt>
                <c:pt idx="2827">
                  <c:v>51.61</c:v>
                </c:pt>
                <c:pt idx="2828">
                  <c:v>25.05</c:v>
                </c:pt>
                <c:pt idx="2829">
                  <c:v>18.09</c:v>
                </c:pt>
                <c:pt idx="2830">
                  <c:v>16.77</c:v>
                </c:pt>
                <c:pt idx="2831">
                  <c:v>28.91</c:v>
                </c:pt>
                <c:pt idx="2832">
                  <c:v>41.27</c:v>
                </c:pt>
                <c:pt idx="2833">
                  <c:v>22.06</c:v>
                </c:pt>
                <c:pt idx="2834">
                  <c:v>34.630000000000003</c:v>
                </c:pt>
                <c:pt idx="2835">
                  <c:v>16.03</c:v>
                </c:pt>
                <c:pt idx="2836">
                  <c:v>24.06</c:v>
                </c:pt>
                <c:pt idx="2837">
                  <c:v>40.950000000000003</c:v>
                </c:pt>
                <c:pt idx="2838">
                  <c:v>40.96</c:v>
                </c:pt>
                <c:pt idx="2839">
                  <c:v>47</c:v>
                </c:pt>
                <c:pt idx="2840">
                  <c:v>16.16</c:v>
                </c:pt>
                <c:pt idx="2841">
                  <c:v>47.42</c:v>
                </c:pt>
                <c:pt idx="2842">
                  <c:v>13.47</c:v>
                </c:pt>
                <c:pt idx="2843">
                  <c:v>35.92</c:v>
                </c:pt>
                <c:pt idx="2844">
                  <c:v>28.79</c:v>
                </c:pt>
                <c:pt idx="2845">
                  <c:v>31.259999999999987</c:v>
                </c:pt>
                <c:pt idx="2846">
                  <c:v>30.04</c:v>
                </c:pt>
                <c:pt idx="2847">
                  <c:v>28.21</c:v>
                </c:pt>
                <c:pt idx="2848">
                  <c:v>33.92</c:v>
                </c:pt>
                <c:pt idx="2849">
                  <c:v>34.11</c:v>
                </c:pt>
                <c:pt idx="2850">
                  <c:v>10.76</c:v>
                </c:pt>
                <c:pt idx="2851">
                  <c:v>38.33</c:v>
                </c:pt>
                <c:pt idx="2852">
                  <c:v>34.25</c:v>
                </c:pt>
                <c:pt idx="2853">
                  <c:v>29.759999999999987</c:v>
                </c:pt>
                <c:pt idx="2854">
                  <c:v>34.190000000000012</c:v>
                </c:pt>
                <c:pt idx="2855">
                  <c:v>13.93</c:v>
                </c:pt>
                <c:pt idx="2856">
                  <c:v>40.550000000000004</c:v>
                </c:pt>
                <c:pt idx="2857">
                  <c:v>30.939999999999987</c:v>
                </c:pt>
                <c:pt idx="2858">
                  <c:v>15.77</c:v>
                </c:pt>
                <c:pt idx="2859">
                  <c:v>42.95</c:v>
                </c:pt>
                <c:pt idx="2860">
                  <c:v>24.06</c:v>
                </c:pt>
                <c:pt idx="2861">
                  <c:v>44.88</c:v>
                </c:pt>
                <c:pt idx="2862">
                  <c:v>38.220000000000013</c:v>
                </c:pt>
                <c:pt idx="2863">
                  <c:v>25.32</c:v>
                </c:pt>
                <c:pt idx="2864">
                  <c:v>29.32</c:v>
                </c:pt>
                <c:pt idx="2865">
                  <c:v>19.010000000000005</c:v>
                </c:pt>
                <c:pt idx="2866">
                  <c:v>33.42</c:v>
                </c:pt>
                <c:pt idx="2867">
                  <c:v>28.07</c:v>
                </c:pt>
                <c:pt idx="2868">
                  <c:v>42.52</c:v>
                </c:pt>
                <c:pt idx="2869">
                  <c:v>27.31000000000002</c:v>
                </c:pt>
                <c:pt idx="2870">
                  <c:v>32.57</c:v>
                </c:pt>
                <c:pt idx="2871">
                  <c:v>36.28</c:v>
                </c:pt>
                <c:pt idx="2872">
                  <c:v>29.54</c:v>
                </c:pt>
                <c:pt idx="2873">
                  <c:v>23.65000000000002</c:v>
                </c:pt>
                <c:pt idx="2874">
                  <c:v>31.12</c:v>
                </c:pt>
                <c:pt idx="2875">
                  <c:v>50.33</c:v>
                </c:pt>
                <c:pt idx="2876">
                  <c:v>19.959999999999987</c:v>
                </c:pt>
                <c:pt idx="2877">
                  <c:v>46.220000000000013</c:v>
                </c:pt>
                <c:pt idx="2878">
                  <c:v>48.77</c:v>
                </c:pt>
                <c:pt idx="2879">
                  <c:v>27.58</c:v>
                </c:pt>
                <c:pt idx="2880">
                  <c:v>32.720000000000013</c:v>
                </c:pt>
                <c:pt idx="2881">
                  <c:v>38.9</c:v>
                </c:pt>
                <c:pt idx="2882">
                  <c:v>34.760000000000012</c:v>
                </c:pt>
                <c:pt idx="2883">
                  <c:v>35.07</c:v>
                </c:pt>
                <c:pt idx="2884">
                  <c:v>26.259999999999987</c:v>
                </c:pt>
                <c:pt idx="2885">
                  <c:v>29.41</c:v>
                </c:pt>
                <c:pt idx="2886">
                  <c:v>25.41</c:v>
                </c:pt>
                <c:pt idx="2887">
                  <c:v>24.259999999999987</c:v>
                </c:pt>
                <c:pt idx="2888">
                  <c:v>42.44</c:v>
                </c:pt>
                <c:pt idx="2889">
                  <c:v>27.51</c:v>
                </c:pt>
                <c:pt idx="2890">
                  <c:v>23.459999999999987</c:v>
                </c:pt>
                <c:pt idx="2891">
                  <c:v>47.07</c:v>
                </c:pt>
                <c:pt idx="2892">
                  <c:v>34.33</c:v>
                </c:pt>
                <c:pt idx="2893">
                  <c:v>45.87</c:v>
                </c:pt>
                <c:pt idx="2894">
                  <c:v>34.980000000000004</c:v>
                </c:pt>
                <c:pt idx="2895">
                  <c:v>34.15</c:v>
                </c:pt>
                <c:pt idx="2896">
                  <c:v>23.87</c:v>
                </c:pt>
                <c:pt idx="2897">
                  <c:v>40.98</c:v>
                </c:pt>
                <c:pt idx="2898">
                  <c:v>22.07</c:v>
                </c:pt>
                <c:pt idx="2899">
                  <c:v>23.45</c:v>
                </c:pt>
                <c:pt idx="2900">
                  <c:v>36.01</c:v>
                </c:pt>
                <c:pt idx="2901">
                  <c:v>39.450000000000003</c:v>
                </c:pt>
                <c:pt idx="2902">
                  <c:v>32.93</c:v>
                </c:pt>
                <c:pt idx="2903">
                  <c:v>30.65000000000002</c:v>
                </c:pt>
                <c:pt idx="2904">
                  <c:v>47.83</c:v>
                </c:pt>
                <c:pt idx="2905">
                  <c:v>39.92</c:v>
                </c:pt>
                <c:pt idx="2906">
                  <c:v>29.99</c:v>
                </c:pt>
                <c:pt idx="2907">
                  <c:v>37</c:v>
                </c:pt>
                <c:pt idx="2908">
                  <c:v>29.95</c:v>
                </c:pt>
                <c:pt idx="2909">
                  <c:v>45.64</c:v>
                </c:pt>
                <c:pt idx="2910">
                  <c:v>32.96</c:v>
                </c:pt>
                <c:pt idx="2911">
                  <c:v>29.62</c:v>
                </c:pt>
                <c:pt idx="2912">
                  <c:v>30.9</c:v>
                </c:pt>
                <c:pt idx="2913">
                  <c:v>36.200000000000003</c:v>
                </c:pt>
                <c:pt idx="2914">
                  <c:v>35.9</c:v>
                </c:pt>
                <c:pt idx="2915">
                  <c:v>55.77</c:v>
                </c:pt>
                <c:pt idx="2916">
                  <c:v>24.55</c:v>
                </c:pt>
                <c:pt idx="2917">
                  <c:v>50.03</c:v>
                </c:pt>
                <c:pt idx="2918">
                  <c:v>42.87</c:v>
                </c:pt>
                <c:pt idx="2919">
                  <c:v>29.01</c:v>
                </c:pt>
                <c:pt idx="2920">
                  <c:v>34.03</c:v>
                </c:pt>
                <c:pt idx="2921">
                  <c:v>46.95</c:v>
                </c:pt>
                <c:pt idx="2922">
                  <c:v>23.82</c:v>
                </c:pt>
                <c:pt idx="2923">
                  <c:v>15.94</c:v>
                </c:pt>
                <c:pt idx="2924">
                  <c:v>44.91</c:v>
                </c:pt>
                <c:pt idx="2925">
                  <c:v>28.479999999999986</c:v>
                </c:pt>
                <c:pt idx="2926">
                  <c:v>33.86</c:v>
                </c:pt>
                <c:pt idx="2927">
                  <c:v>50.120000000000012</c:v>
                </c:pt>
                <c:pt idx="2928">
                  <c:v>40</c:v>
                </c:pt>
                <c:pt idx="2929">
                  <c:v>39.85</c:v>
                </c:pt>
                <c:pt idx="2930">
                  <c:v>25.19</c:v>
                </c:pt>
                <c:pt idx="2931">
                  <c:v>40.020000000000003</c:v>
                </c:pt>
                <c:pt idx="2932">
                  <c:v>52.06</c:v>
                </c:pt>
                <c:pt idx="2933">
                  <c:v>24.04</c:v>
                </c:pt>
                <c:pt idx="2934">
                  <c:v>15.16</c:v>
                </c:pt>
                <c:pt idx="2935">
                  <c:v>37.99</c:v>
                </c:pt>
                <c:pt idx="2936">
                  <c:v>37.32</c:v>
                </c:pt>
                <c:pt idx="2937">
                  <c:v>24.25</c:v>
                </c:pt>
                <c:pt idx="2938">
                  <c:v>24.95</c:v>
                </c:pt>
                <c:pt idx="2939">
                  <c:v>30.52</c:v>
                </c:pt>
                <c:pt idx="2940">
                  <c:v>36.9</c:v>
                </c:pt>
                <c:pt idx="2941">
                  <c:v>35</c:v>
                </c:pt>
                <c:pt idx="2942">
                  <c:v>35.07</c:v>
                </c:pt>
                <c:pt idx="2943">
                  <c:v>41.46</c:v>
                </c:pt>
                <c:pt idx="2944">
                  <c:v>43.94</c:v>
                </c:pt>
                <c:pt idx="2945">
                  <c:v>18.13000000000002</c:v>
                </c:pt>
                <c:pt idx="2946">
                  <c:v>20.62</c:v>
                </c:pt>
                <c:pt idx="2947">
                  <c:v>44.98</c:v>
                </c:pt>
                <c:pt idx="2948">
                  <c:v>49.58</c:v>
                </c:pt>
                <c:pt idx="2949">
                  <c:v>18.809999999999999</c:v>
                </c:pt>
                <c:pt idx="2950">
                  <c:v>35.89</c:v>
                </c:pt>
                <c:pt idx="2951">
                  <c:v>41.89</c:v>
                </c:pt>
                <c:pt idx="2952">
                  <c:v>48.4</c:v>
                </c:pt>
                <c:pt idx="2953">
                  <c:v>41.27</c:v>
                </c:pt>
                <c:pt idx="2954">
                  <c:v>37.9</c:v>
                </c:pt>
                <c:pt idx="2955">
                  <c:v>46.41</c:v>
                </c:pt>
                <c:pt idx="2956">
                  <c:v>20.2</c:v>
                </c:pt>
                <c:pt idx="2957">
                  <c:v>29.03</c:v>
                </c:pt>
                <c:pt idx="2958">
                  <c:v>15.91</c:v>
                </c:pt>
                <c:pt idx="2959">
                  <c:v>25.89</c:v>
                </c:pt>
                <c:pt idx="2960">
                  <c:v>42.08</c:v>
                </c:pt>
                <c:pt idx="2961">
                  <c:v>49.59</c:v>
                </c:pt>
                <c:pt idx="2962">
                  <c:v>19.64</c:v>
                </c:pt>
                <c:pt idx="2963">
                  <c:v>49.94</c:v>
                </c:pt>
                <c:pt idx="2964">
                  <c:v>27.68</c:v>
                </c:pt>
                <c:pt idx="2965">
                  <c:v>22.08</c:v>
                </c:pt>
                <c:pt idx="2966">
                  <c:v>30.45</c:v>
                </c:pt>
                <c:pt idx="2967">
                  <c:v>36.550000000000004</c:v>
                </c:pt>
                <c:pt idx="2968">
                  <c:v>23.93</c:v>
                </c:pt>
                <c:pt idx="2969">
                  <c:v>55.86</c:v>
                </c:pt>
                <c:pt idx="2970">
                  <c:v>30.63000000000002</c:v>
                </c:pt>
                <c:pt idx="2971">
                  <c:v>47.56</c:v>
                </c:pt>
                <c:pt idx="2972">
                  <c:v>33.4</c:v>
                </c:pt>
                <c:pt idx="2973">
                  <c:v>44.21</c:v>
                </c:pt>
                <c:pt idx="2974">
                  <c:v>40.9</c:v>
                </c:pt>
                <c:pt idx="2975">
                  <c:v>35.11</c:v>
                </c:pt>
                <c:pt idx="2976">
                  <c:v>29.49</c:v>
                </c:pt>
                <c:pt idx="2977">
                  <c:v>22.959999999999987</c:v>
                </c:pt>
                <c:pt idx="2978">
                  <c:v>29.51</c:v>
                </c:pt>
                <c:pt idx="2979">
                  <c:v>23.110000000000021</c:v>
                </c:pt>
                <c:pt idx="2980">
                  <c:v>24.57</c:v>
                </c:pt>
                <c:pt idx="2981">
                  <c:v>33.200000000000003</c:v>
                </c:pt>
                <c:pt idx="2982">
                  <c:v>27.67</c:v>
                </c:pt>
                <c:pt idx="2983">
                  <c:v>32.43</c:v>
                </c:pt>
                <c:pt idx="2984">
                  <c:v>25.65000000000002</c:v>
                </c:pt>
                <c:pt idx="2985">
                  <c:v>24.24</c:v>
                </c:pt>
                <c:pt idx="2986">
                  <c:v>43.78</c:v>
                </c:pt>
                <c:pt idx="2987">
                  <c:v>23.05</c:v>
                </c:pt>
                <c:pt idx="2988">
                  <c:v>27.59</c:v>
                </c:pt>
                <c:pt idx="2989">
                  <c:v>32.870000000000005</c:v>
                </c:pt>
                <c:pt idx="2990">
                  <c:v>36.64</c:v>
                </c:pt>
                <c:pt idx="2991">
                  <c:v>15.64</c:v>
                </c:pt>
                <c:pt idx="2992">
                  <c:v>46.95</c:v>
                </c:pt>
                <c:pt idx="2993">
                  <c:v>44</c:v>
                </c:pt>
                <c:pt idx="2994">
                  <c:v>14.5</c:v>
                </c:pt>
                <c:pt idx="2995">
                  <c:v>18.86</c:v>
                </c:pt>
                <c:pt idx="2996">
                  <c:v>29</c:v>
                </c:pt>
                <c:pt idx="2997">
                  <c:v>46.94</c:v>
                </c:pt>
                <c:pt idx="2998">
                  <c:v>44.77</c:v>
                </c:pt>
                <c:pt idx="2999">
                  <c:v>28.47</c:v>
                </c:pt>
                <c:pt idx="3000">
                  <c:v>32.57</c:v>
                </c:pt>
                <c:pt idx="3001">
                  <c:v>32.520000000000003</c:v>
                </c:pt>
                <c:pt idx="3002">
                  <c:v>32.5</c:v>
                </c:pt>
                <c:pt idx="3003">
                  <c:v>26.77</c:v>
                </c:pt>
                <c:pt idx="3004">
                  <c:v>35.06</c:v>
                </c:pt>
                <c:pt idx="3005">
                  <c:v>43.58</c:v>
                </c:pt>
                <c:pt idx="3006">
                  <c:v>28.62</c:v>
                </c:pt>
                <c:pt idx="3007">
                  <c:v>28.54</c:v>
                </c:pt>
                <c:pt idx="3008">
                  <c:v>40.730000000000011</c:v>
                </c:pt>
                <c:pt idx="3009">
                  <c:v>35.47</c:v>
                </c:pt>
                <c:pt idx="3010">
                  <c:v>27.02</c:v>
                </c:pt>
                <c:pt idx="3011">
                  <c:v>25.91</c:v>
                </c:pt>
                <c:pt idx="3012">
                  <c:v>39.97</c:v>
                </c:pt>
                <c:pt idx="3013">
                  <c:v>20.37</c:v>
                </c:pt>
                <c:pt idx="3014">
                  <c:v>18.010000000000005</c:v>
                </c:pt>
                <c:pt idx="3015">
                  <c:v>24.07</c:v>
                </c:pt>
                <c:pt idx="3016">
                  <c:v>30.03</c:v>
                </c:pt>
                <c:pt idx="3017">
                  <c:v>37.65</c:v>
                </c:pt>
                <c:pt idx="3018">
                  <c:v>44.9</c:v>
                </c:pt>
                <c:pt idx="3019">
                  <c:v>23.779999999999987</c:v>
                </c:pt>
                <c:pt idx="3020">
                  <c:v>30.04</c:v>
                </c:pt>
                <c:pt idx="3021">
                  <c:v>28.73</c:v>
                </c:pt>
                <c:pt idx="3022">
                  <c:v>25.57</c:v>
                </c:pt>
                <c:pt idx="3023">
                  <c:v>26.17</c:v>
                </c:pt>
                <c:pt idx="3024">
                  <c:v>25.419999999999987</c:v>
                </c:pt>
                <c:pt idx="3025">
                  <c:v>25.03</c:v>
                </c:pt>
                <c:pt idx="3026">
                  <c:v>23.63000000000002</c:v>
                </c:pt>
                <c:pt idx="3027">
                  <c:v>25.43</c:v>
                </c:pt>
                <c:pt idx="3028">
                  <c:v>31.959999999999987</c:v>
                </c:pt>
                <c:pt idx="3029">
                  <c:v>36.39</c:v>
                </c:pt>
                <c:pt idx="3030">
                  <c:v>35.68</c:v>
                </c:pt>
                <c:pt idx="3031">
                  <c:v>33.410000000000004</c:v>
                </c:pt>
                <c:pt idx="3032">
                  <c:v>26.43</c:v>
                </c:pt>
                <c:pt idx="3033">
                  <c:v>24.43</c:v>
                </c:pt>
                <c:pt idx="3034">
                  <c:v>52</c:v>
                </c:pt>
                <c:pt idx="3035">
                  <c:v>23.04</c:v>
                </c:pt>
                <c:pt idx="3036">
                  <c:v>30.830000000000005</c:v>
                </c:pt>
                <c:pt idx="3037">
                  <c:v>26.14</c:v>
                </c:pt>
                <c:pt idx="3038">
                  <c:v>36.57</c:v>
                </c:pt>
                <c:pt idx="3039">
                  <c:v>41.92</c:v>
                </c:pt>
                <c:pt idx="3040">
                  <c:v>39.950000000000003</c:v>
                </c:pt>
                <c:pt idx="3041">
                  <c:v>-14.93</c:v>
                </c:pt>
                <c:pt idx="3042">
                  <c:v>45</c:v>
                </c:pt>
                <c:pt idx="3043">
                  <c:v>16.12</c:v>
                </c:pt>
                <c:pt idx="3044">
                  <c:v>23.69</c:v>
                </c:pt>
                <c:pt idx="3045">
                  <c:v>49.98</c:v>
                </c:pt>
                <c:pt idx="3046">
                  <c:v>33.92</c:v>
                </c:pt>
                <c:pt idx="3047">
                  <c:v>30.35</c:v>
                </c:pt>
                <c:pt idx="3048">
                  <c:v>16.07</c:v>
                </c:pt>
                <c:pt idx="3049">
                  <c:v>3.98</c:v>
                </c:pt>
                <c:pt idx="3050">
                  <c:v>45.88</c:v>
                </c:pt>
                <c:pt idx="3051">
                  <c:v>23.66</c:v>
                </c:pt>
                <c:pt idx="3052">
                  <c:v>26.259999999999987</c:v>
                </c:pt>
                <c:pt idx="3053">
                  <c:v>22.08</c:v>
                </c:pt>
                <c:pt idx="3054">
                  <c:v>45.83</c:v>
                </c:pt>
                <c:pt idx="3055">
                  <c:v>42.97</c:v>
                </c:pt>
                <c:pt idx="3056">
                  <c:v>40.03</c:v>
                </c:pt>
                <c:pt idx="3057">
                  <c:v>29.34</c:v>
                </c:pt>
                <c:pt idx="3058">
                  <c:v>27.459999999999987</c:v>
                </c:pt>
                <c:pt idx="3059">
                  <c:v>20.04</c:v>
                </c:pt>
                <c:pt idx="3060">
                  <c:v>33.74</c:v>
                </c:pt>
                <c:pt idx="3061">
                  <c:v>30.06</c:v>
                </c:pt>
                <c:pt idx="3062">
                  <c:v>45</c:v>
                </c:pt>
                <c:pt idx="3063">
                  <c:v>43.61</c:v>
                </c:pt>
                <c:pt idx="3064">
                  <c:v>41.37</c:v>
                </c:pt>
                <c:pt idx="3065">
                  <c:v>32.58</c:v>
                </c:pt>
                <c:pt idx="3066">
                  <c:v>22.01</c:v>
                </c:pt>
                <c:pt idx="3067">
                  <c:v>32.92</c:v>
                </c:pt>
                <c:pt idx="3068">
                  <c:v>51.75</c:v>
                </c:pt>
                <c:pt idx="3069">
                  <c:v>31.04</c:v>
                </c:pt>
                <c:pt idx="3070">
                  <c:v>23.759999999999987</c:v>
                </c:pt>
                <c:pt idx="3071">
                  <c:v>28.459999999999987</c:v>
                </c:pt>
                <c:pt idx="3072">
                  <c:v>49.15</c:v>
                </c:pt>
                <c:pt idx="3073">
                  <c:v>27</c:v>
                </c:pt>
                <c:pt idx="3074">
                  <c:v>41.32</c:v>
                </c:pt>
                <c:pt idx="3075">
                  <c:v>30.55</c:v>
                </c:pt>
                <c:pt idx="3076">
                  <c:v>16.07</c:v>
                </c:pt>
                <c:pt idx="3077">
                  <c:v>38.39</c:v>
                </c:pt>
                <c:pt idx="3078">
                  <c:v>34.300000000000004</c:v>
                </c:pt>
                <c:pt idx="3079">
                  <c:v>14.950000000000006</c:v>
                </c:pt>
                <c:pt idx="3080">
                  <c:v>33.56</c:v>
                </c:pt>
                <c:pt idx="3081">
                  <c:v>25.31000000000002</c:v>
                </c:pt>
                <c:pt idx="3082">
                  <c:v>43.5</c:v>
                </c:pt>
                <c:pt idx="3083">
                  <c:v>39.21</c:v>
                </c:pt>
                <c:pt idx="3084">
                  <c:v>14.41</c:v>
                </c:pt>
                <c:pt idx="3085">
                  <c:v>28.459999999999987</c:v>
                </c:pt>
                <c:pt idx="3086">
                  <c:v>44.94</c:v>
                </c:pt>
                <c:pt idx="3087">
                  <c:v>16.04</c:v>
                </c:pt>
                <c:pt idx="3088">
                  <c:v>44.120000000000012</c:v>
                </c:pt>
                <c:pt idx="3089">
                  <c:v>14.3</c:v>
                </c:pt>
                <c:pt idx="3090">
                  <c:v>16.18</c:v>
                </c:pt>
                <c:pt idx="3091">
                  <c:v>43.1</c:v>
                </c:pt>
                <c:pt idx="3092">
                  <c:v>29.830000000000005</c:v>
                </c:pt>
                <c:pt idx="3093">
                  <c:v>29.63000000000002</c:v>
                </c:pt>
                <c:pt idx="3094">
                  <c:v>22.93</c:v>
                </c:pt>
                <c:pt idx="3095">
                  <c:v>26.02</c:v>
                </c:pt>
                <c:pt idx="3096">
                  <c:v>22.38</c:v>
                </c:pt>
                <c:pt idx="3097">
                  <c:v>31.419999999999987</c:v>
                </c:pt>
                <c:pt idx="3098">
                  <c:v>66.86999999999999</c:v>
                </c:pt>
                <c:pt idx="3099">
                  <c:v>34.93</c:v>
                </c:pt>
                <c:pt idx="3100">
                  <c:v>29.12</c:v>
                </c:pt>
                <c:pt idx="3101">
                  <c:v>25.07</c:v>
                </c:pt>
                <c:pt idx="3102">
                  <c:v>23.65000000000002</c:v>
                </c:pt>
                <c:pt idx="3103">
                  <c:v>33.630000000000003</c:v>
                </c:pt>
                <c:pt idx="3104">
                  <c:v>44.04</c:v>
                </c:pt>
                <c:pt idx="3105">
                  <c:v>47.68</c:v>
                </c:pt>
                <c:pt idx="3106">
                  <c:v>20.8</c:v>
                </c:pt>
                <c:pt idx="3107">
                  <c:v>47.93</c:v>
                </c:pt>
                <c:pt idx="3108">
                  <c:v>26.97</c:v>
                </c:pt>
                <c:pt idx="3109">
                  <c:v>34.410000000000004</c:v>
                </c:pt>
                <c:pt idx="3110">
                  <c:v>28.14</c:v>
                </c:pt>
                <c:pt idx="3111">
                  <c:v>40.97</c:v>
                </c:pt>
                <c:pt idx="3112">
                  <c:v>16.600000000000001</c:v>
                </c:pt>
                <c:pt idx="3113">
                  <c:v>31.93</c:v>
                </c:pt>
                <c:pt idx="3114">
                  <c:v>20.45</c:v>
                </c:pt>
                <c:pt idx="3115">
                  <c:v>22.6</c:v>
                </c:pt>
                <c:pt idx="3116">
                  <c:v>28.66</c:v>
                </c:pt>
                <c:pt idx="3117">
                  <c:v>34.950000000000003</c:v>
                </c:pt>
                <c:pt idx="3118">
                  <c:v>28.68</c:v>
                </c:pt>
                <c:pt idx="3119">
                  <c:v>30.07</c:v>
                </c:pt>
                <c:pt idx="3120">
                  <c:v>47.43</c:v>
                </c:pt>
                <c:pt idx="3121">
                  <c:v>47.95</c:v>
                </c:pt>
                <c:pt idx="3122">
                  <c:v>50.99</c:v>
                </c:pt>
                <c:pt idx="3123">
                  <c:v>26.5</c:v>
                </c:pt>
                <c:pt idx="3124">
                  <c:v>24.06</c:v>
                </c:pt>
                <c:pt idx="3125">
                  <c:v>39.57</c:v>
                </c:pt>
                <c:pt idx="3126">
                  <c:v>26.259999999999987</c:v>
                </c:pt>
                <c:pt idx="3127">
                  <c:v>25.09</c:v>
                </c:pt>
                <c:pt idx="3128">
                  <c:v>43.760000000000012</c:v>
                </c:pt>
                <c:pt idx="3129">
                  <c:v>38.1</c:v>
                </c:pt>
                <c:pt idx="3130">
                  <c:v>36.760000000000012</c:v>
                </c:pt>
                <c:pt idx="3131">
                  <c:v>40.25</c:v>
                </c:pt>
                <c:pt idx="3132">
                  <c:v>29.65000000000002</c:v>
                </c:pt>
                <c:pt idx="3133">
                  <c:v>31.04</c:v>
                </c:pt>
                <c:pt idx="3134">
                  <c:v>33.78</c:v>
                </c:pt>
                <c:pt idx="3135">
                  <c:v>26.979999999999986</c:v>
                </c:pt>
                <c:pt idx="3136">
                  <c:v>39.04</c:v>
                </c:pt>
                <c:pt idx="3137">
                  <c:v>30.979999999999986</c:v>
                </c:pt>
                <c:pt idx="3138">
                  <c:v>39.68</c:v>
                </c:pt>
                <c:pt idx="3139">
                  <c:v>15.950000000000006</c:v>
                </c:pt>
                <c:pt idx="3140">
                  <c:v>39.980000000000004</c:v>
                </c:pt>
                <c:pt idx="3141">
                  <c:v>36.340000000000003</c:v>
                </c:pt>
                <c:pt idx="3142">
                  <c:v>42.44</c:v>
                </c:pt>
                <c:pt idx="3143">
                  <c:v>26.41</c:v>
                </c:pt>
                <c:pt idx="3144">
                  <c:v>6.0000000000000032E-2</c:v>
                </c:pt>
                <c:pt idx="3145">
                  <c:v>35.050000000000004</c:v>
                </c:pt>
                <c:pt idx="3146">
                  <c:v>37.44</c:v>
                </c:pt>
                <c:pt idx="3147">
                  <c:v>44.87</c:v>
                </c:pt>
                <c:pt idx="3148">
                  <c:v>15.06</c:v>
                </c:pt>
                <c:pt idx="3149">
                  <c:v>27.75</c:v>
                </c:pt>
                <c:pt idx="3150">
                  <c:v>27.56</c:v>
                </c:pt>
                <c:pt idx="3151">
                  <c:v>39.94</c:v>
                </c:pt>
                <c:pt idx="3152">
                  <c:v>41.81</c:v>
                </c:pt>
                <c:pt idx="3153">
                  <c:v>20.02</c:v>
                </c:pt>
                <c:pt idx="3154">
                  <c:v>50.03</c:v>
                </c:pt>
                <c:pt idx="3155">
                  <c:v>23.95</c:v>
                </c:pt>
                <c:pt idx="3156">
                  <c:v>29.08</c:v>
                </c:pt>
                <c:pt idx="3157">
                  <c:v>36.08</c:v>
                </c:pt>
                <c:pt idx="3158">
                  <c:v>32.94</c:v>
                </c:pt>
                <c:pt idx="3159">
                  <c:v>29.09</c:v>
                </c:pt>
                <c:pt idx="3160">
                  <c:v>28.23</c:v>
                </c:pt>
                <c:pt idx="3161">
                  <c:v>42.32</c:v>
                </c:pt>
                <c:pt idx="3162">
                  <c:v>55</c:v>
                </c:pt>
                <c:pt idx="3163">
                  <c:v>12.99</c:v>
                </c:pt>
                <c:pt idx="3164">
                  <c:v>40.04</c:v>
                </c:pt>
                <c:pt idx="3165">
                  <c:v>31.31000000000002</c:v>
                </c:pt>
                <c:pt idx="3166">
                  <c:v>32.370000000000005</c:v>
                </c:pt>
                <c:pt idx="3167">
                  <c:v>36.790000000000013</c:v>
                </c:pt>
                <c:pt idx="3168">
                  <c:v>32.020000000000003</c:v>
                </c:pt>
                <c:pt idx="3169">
                  <c:v>25.95</c:v>
                </c:pt>
                <c:pt idx="3170">
                  <c:v>24.7</c:v>
                </c:pt>
                <c:pt idx="3171">
                  <c:v>32.99</c:v>
                </c:pt>
                <c:pt idx="3172">
                  <c:v>35.04</c:v>
                </c:pt>
                <c:pt idx="3173">
                  <c:v>40.270000000000003</c:v>
                </c:pt>
                <c:pt idx="3174">
                  <c:v>24.97</c:v>
                </c:pt>
                <c:pt idx="3175">
                  <c:v>35</c:v>
                </c:pt>
                <c:pt idx="3176">
                  <c:v>51.91</c:v>
                </c:pt>
                <c:pt idx="3177">
                  <c:v>23.330000000000005</c:v>
                </c:pt>
                <c:pt idx="3178">
                  <c:v>46.18</c:v>
                </c:pt>
                <c:pt idx="3179">
                  <c:v>28.53</c:v>
                </c:pt>
                <c:pt idx="3180">
                  <c:v>26.07</c:v>
                </c:pt>
                <c:pt idx="3181">
                  <c:v>45.71</c:v>
                </c:pt>
                <c:pt idx="3182">
                  <c:v>20.13000000000002</c:v>
                </c:pt>
                <c:pt idx="3183">
                  <c:v>21.39</c:v>
                </c:pt>
                <c:pt idx="3184">
                  <c:v>40.71</c:v>
                </c:pt>
                <c:pt idx="3185">
                  <c:v>25.31000000000002</c:v>
                </c:pt>
                <c:pt idx="3186">
                  <c:v>36.020000000000003</c:v>
                </c:pt>
                <c:pt idx="3187">
                  <c:v>45.44</c:v>
                </c:pt>
                <c:pt idx="3188">
                  <c:v>18.939999999999987</c:v>
                </c:pt>
                <c:pt idx="3189">
                  <c:v>42.06</c:v>
                </c:pt>
                <c:pt idx="3190">
                  <c:v>15.72</c:v>
                </c:pt>
                <c:pt idx="3191">
                  <c:v>32.870000000000005</c:v>
                </c:pt>
                <c:pt idx="3192">
                  <c:v>18</c:v>
                </c:pt>
                <c:pt idx="3193">
                  <c:v>28.17</c:v>
                </c:pt>
                <c:pt idx="3194">
                  <c:v>31.39</c:v>
                </c:pt>
                <c:pt idx="3195">
                  <c:v>31</c:v>
                </c:pt>
                <c:pt idx="3196">
                  <c:v>25.24</c:v>
                </c:pt>
                <c:pt idx="3197">
                  <c:v>27.919999999999987</c:v>
                </c:pt>
                <c:pt idx="3198">
                  <c:v>29.279999999999987</c:v>
                </c:pt>
                <c:pt idx="3199">
                  <c:v>26.02</c:v>
                </c:pt>
                <c:pt idx="3200">
                  <c:v>29.15000000000002</c:v>
                </c:pt>
                <c:pt idx="3201">
                  <c:v>38.94</c:v>
                </c:pt>
                <c:pt idx="3202">
                  <c:v>22.1</c:v>
                </c:pt>
                <c:pt idx="3203">
                  <c:v>46.49</c:v>
                </c:pt>
                <c:pt idx="3204">
                  <c:v>28.36</c:v>
                </c:pt>
                <c:pt idx="3205">
                  <c:v>13.8</c:v>
                </c:pt>
                <c:pt idx="3206">
                  <c:v>34.730000000000011</c:v>
                </c:pt>
                <c:pt idx="3207">
                  <c:v>14.27</c:v>
                </c:pt>
                <c:pt idx="3208">
                  <c:v>33.97</c:v>
                </c:pt>
                <c:pt idx="3209">
                  <c:v>49.84</c:v>
                </c:pt>
                <c:pt idx="3210">
                  <c:v>27.91</c:v>
                </c:pt>
                <c:pt idx="3211">
                  <c:v>44.08</c:v>
                </c:pt>
                <c:pt idx="3212">
                  <c:v>20.18</c:v>
                </c:pt>
                <c:pt idx="3213">
                  <c:v>23.65000000000002</c:v>
                </c:pt>
                <c:pt idx="3214">
                  <c:v>44</c:v>
                </c:pt>
                <c:pt idx="3215">
                  <c:v>43.620000000000012</c:v>
                </c:pt>
                <c:pt idx="3216">
                  <c:v>22.25</c:v>
                </c:pt>
                <c:pt idx="3217">
                  <c:v>41.44</c:v>
                </c:pt>
                <c:pt idx="3218">
                  <c:v>27.19</c:v>
                </c:pt>
                <c:pt idx="3219">
                  <c:v>31.24</c:v>
                </c:pt>
                <c:pt idx="3220">
                  <c:v>18.559999999999999</c:v>
                </c:pt>
                <c:pt idx="3221">
                  <c:v>39.94</c:v>
                </c:pt>
                <c:pt idx="3222">
                  <c:v>14.6</c:v>
                </c:pt>
                <c:pt idx="3223">
                  <c:v>33.43</c:v>
                </c:pt>
                <c:pt idx="3224">
                  <c:v>41.11</c:v>
                </c:pt>
                <c:pt idx="3225">
                  <c:v>34.71</c:v>
                </c:pt>
                <c:pt idx="3226">
                  <c:v>16.04</c:v>
                </c:pt>
                <c:pt idx="3227">
                  <c:v>39.35</c:v>
                </c:pt>
                <c:pt idx="3228">
                  <c:v>40.660000000000011</c:v>
                </c:pt>
                <c:pt idx="3229">
                  <c:v>32.94</c:v>
                </c:pt>
                <c:pt idx="3230">
                  <c:v>21.419999999999987</c:v>
                </c:pt>
                <c:pt idx="3231">
                  <c:v>40.220000000000013</c:v>
                </c:pt>
                <c:pt idx="3232">
                  <c:v>53.35</c:v>
                </c:pt>
                <c:pt idx="3233">
                  <c:v>16.37</c:v>
                </c:pt>
                <c:pt idx="3234">
                  <c:v>20</c:v>
                </c:pt>
                <c:pt idx="3235">
                  <c:v>47.96</c:v>
                </c:pt>
                <c:pt idx="3236">
                  <c:v>43.620000000000012</c:v>
                </c:pt>
                <c:pt idx="3237">
                  <c:v>30.29</c:v>
                </c:pt>
                <c:pt idx="3238">
                  <c:v>22.89</c:v>
                </c:pt>
                <c:pt idx="3239">
                  <c:v>53.13</c:v>
                </c:pt>
                <c:pt idx="3240">
                  <c:v>25.939999999999987</c:v>
                </c:pt>
                <c:pt idx="3241">
                  <c:v>15.97</c:v>
                </c:pt>
                <c:pt idx="3242">
                  <c:v>39.9</c:v>
                </c:pt>
                <c:pt idx="3243">
                  <c:v>50.96</c:v>
                </c:pt>
                <c:pt idx="3244">
                  <c:v>44.78</c:v>
                </c:pt>
                <c:pt idx="3245">
                  <c:v>35.720000000000013</c:v>
                </c:pt>
                <c:pt idx="3246">
                  <c:v>31.57</c:v>
                </c:pt>
                <c:pt idx="3247">
                  <c:v>29.459999999999987</c:v>
                </c:pt>
                <c:pt idx="3248">
                  <c:v>50</c:v>
                </c:pt>
                <c:pt idx="3249">
                  <c:v>26.79</c:v>
                </c:pt>
                <c:pt idx="3250">
                  <c:v>18.57</c:v>
                </c:pt>
                <c:pt idx="3251">
                  <c:v>46.95</c:v>
                </c:pt>
                <c:pt idx="3252">
                  <c:v>25.74</c:v>
                </c:pt>
                <c:pt idx="3253">
                  <c:v>36.97</c:v>
                </c:pt>
                <c:pt idx="3254">
                  <c:v>44.98</c:v>
                </c:pt>
                <c:pt idx="3255">
                  <c:v>28.23</c:v>
                </c:pt>
                <c:pt idx="3256">
                  <c:v>23.12</c:v>
                </c:pt>
                <c:pt idx="3257">
                  <c:v>44.1</c:v>
                </c:pt>
                <c:pt idx="3258">
                  <c:v>23.74</c:v>
                </c:pt>
                <c:pt idx="3259">
                  <c:v>36.51</c:v>
                </c:pt>
                <c:pt idx="3260">
                  <c:v>47.45</c:v>
                </c:pt>
                <c:pt idx="3261">
                  <c:v>27.73</c:v>
                </c:pt>
                <c:pt idx="3262">
                  <c:v>23.29</c:v>
                </c:pt>
                <c:pt idx="3263">
                  <c:v>51.35</c:v>
                </c:pt>
                <c:pt idx="3264">
                  <c:v>49.46</c:v>
                </c:pt>
                <c:pt idx="3265">
                  <c:v>28.110000000000021</c:v>
                </c:pt>
                <c:pt idx="3266">
                  <c:v>19.420000000000002</c:v>
                </c:pt>
                <c:pt idx="3267">
                  <c:v>37.6</c:v>
                </c:pt>
                <c:pt idx="3268">
                  <c:v>24.77</c:v>
                </c:pt>
                <c:pt idx="3269">
                  <c:v>28.41</c:v>
                </c:pt>
                <c:pt idx="3270">
                  <c:v>30.08</c:v>
                </c:pt>
                <c:pt idx="3271">
                  <c:v>31.95</c:v>
                </c:pt>
                <c:pt idx="3272">
                  <c:v>15.88</c:v>
                </c:pt>
                <c:pt idx="3273">
                  <c:v>44.97</c:v>
                </c:pt>
                <c:pt idx="3274">
                  <c:v>27.29</c:v>
                </c:pt>
                <c:pt idx="3275">
                  <c:v>40.200000000000003</c:v>
                </c:pt>
                <c:pt idx="3276">
                  <c:v>54.92</c:v>
                </c:pt>
                <c:pt idx="3277">
                  <c:v>35.520000000000003</c:v>
                </c:pt>
                <c:pt idx="3278">
                  <c:v>17.97</c:v>
                </c:pt>
                <c:pt idx="3279">
                  <c:v>21.110000000000021</c:v>
                </c:pt>
                <c:pt idx="3280">
                  <c:v>18.07</c:v>
                </c:pt>
                <c:pt idx="3281">
                  <c:v>27.02</c:v>
                </c:pt>
                <c:pt idx="3282">
                  <c:v>38.15</c:v>
                </c:pt>
                <c:pt idx="3283">
                  <c:v>53</c:v>
                </c:pt>
                <c:pt idx="3284">
                  <c:v>38.200000000000003</c:v>
                </c:pt>
                <c:pt idx="3285">
                  <c:v>25.19</c:v>
                </c:pt>
                <c:pt idx="3286">
                  <c:v>37.47</c:v>
                </c:pt>
                <c:pt idx="3287">
                  <c:v>24.01</c:v>
                </c:pt>
                <c:pt idx="3288">
                  <c:v>32.92</c:v>
                </c:pt>
                <c:pt idx="3289">
                  <c:v>27.47</c:v>
                </c:pt>
                <c:pt idx="3290">
                  <c:v>45.28</c:v>
                </c:pt>
                <c:pt idx="3291">
                  <c:v>32.630000000000003</c:v>
                </c:pt>
                <c:pt idx="3292">
                  <c:v>29.18</c:v>
                </c:pt>
                <c:pt idx="3293">
                  <c:v>34.53</c:v>
                </c:pt>
                <c:pt idx="3294">
                  <c:v>25.57</c:v>
                </c:pt>
                <c:pt idx="3295">
                  <c:v>39.49</c:v>
                </c:pt>
                <c:pt idx="3296">
                  <c:v>46.67</c:v>
                </c:pt>
                <c:pt idx="3297">
                  <c:v>27.13000000000002</c:v>
                </c:pt>
                <c:pt idx="3298">
                  <c:v>27.330000000000005</c:v>
                </c:pt>
                <c:pt idx="3299">
                  <c:v>27.75</c:v>
                </c:pt>
                <c:pt idx="3300">
                  <c:v>58.85</c:v>
                </c:pt>
                <c:pt idx="3301">
                  <c:v>29.919999999999987</c:v>
                </c:pt>
                <c:pt idx="3302">
                  <c:v>54.07</c:v>
                </c:pt>
                <c:pt idx="3303">
                  <c:v>21.82</c:v>
                </c:pt>
                <c:pt idx="3304">
                  <c:v>31.95</c:v>
                </c:pt>
                <c:pt idx="3305">
                  <c:v>55.64</c:v>
                </c:pt>
                <c:pt idx="3306">
                  <c:v>34.220000000000013</c:v>
                </c:pt>
                <c:pt idx="3307">
                  <c:v>26.49</c:v>
                </c:pt>
                <c:pt idx="3308">
                  <c:v>21.24</c:v>
                </c:pt>
                <c:pt idx="3309">
                  <c:v>28.09</c:v>
                </c:pt>
                <c:pt idx="3310">
                  <c:v>23.9</c:v>
                </c:pt>
                <c:pt idx="3311">
                  <c:v>36.03</c:v>
                </c:pt>
                <c:pt idx="3312">
                  <c:v>31.59</c:v>
                </c:pt>
                <c:pt idx="3313">
                  <c:v>25.95</c:v>
                </c:pt>
                <c:pt idx="3314">
                  <c:v>29.99</c:v>
                </c:pt>
                <c:pt idx="3315">
                  <c:v>38.93</c:v>
                </c:pt>
                <c:pt idx="3316">
                  <c:v>51.160000000000011</c:v>
                </c:pt>
                <c:pt idx="3317">
                  <c:v>33.92</c:v>
                </c:pt>
                <c:pt idx="3318">
                  <c:v>47.42</c:v>
                </c:pt>
                <c:pt idx="3319">
                  <c:v>29.09</c:v>
                </c:pt>
                <c:pt idx="3320">
                  <c:v>29.54</c:v>
                </c:pt>
                <c:pt idx="3321">
                  <c:v>28.8</c:v>
                </c:pt>
                <c:pt idx="3322">
                  <c:v>27.35</c:v>
                </c:pt>
                <c:pt idx="3323">
                  <c:v>33.28</c:v>
                </c:pt>
                <c:pt idx="3324">
                  <c:v>54.15</c:v>
                </c:pt>
                <c:pt idx="3325">
                  <c:v>23.07</c:v>
                </c:pt>
                <c:pt idx="3326">
                  <c:v>18.29</c:v>
                </c:pt>
                <c:pt idx="3327">
                  <c:v>45.45</c:v>
                </c:pt>
                <c:pt idx="3328">
                  <c:v>9.27</c:v>
                </c:pt>
                <c:pt idx="3329">
                  <c:v>27.38</c:v>
                </c:pt>
                <c:pt idx="3330">
                  <c:v>29.05</c:v>
                </c:pt>
                <c:pt idx="3331">
                  <c:v>43.01</c:v>
                </c:pt>
                <c:pt idx="3332">
                  <c:v>50</c:v>
                </c:pt>
                <c:pt idx="3333">
                  <c:v>34.220000000000013</c:v>
                </c:pt>
                <c:pt idx="3334">
                  <c:v>25.259999999999987</c:v>
                </c:pt>
                <c:pt idx="3335">
                  <c:v>49.02</c:v>
                </c:pt>
                <c:pt idx="3336">
                  <c:v>34.97</c:v>
                </c:pt>
                <c:pt idx="3337">
                  <c:v>28.08</c:v>
                </c:pt>
                <c:pt idx="3338">
                  <c:v>42.56</c:v>
                </c:pt>
                <c:pt idx="3339">
                  <c:v>29.45</c:v>
                </c:pt>
                <c:pt idx="3340">
                  <c:v>51.07</c:v>
                </c:pt>
                <c:pt idx="3341">
                  <c:v>18.47</c:v>
                </c:pt>
                <c:pt idx="3342">
                  <c:v>45.01</c:v>
                </c:pt>
                <c:pt idx="3343">
                  <c:v>23.58</c:v>
                </c:pt>
                <c:pt idx="3344">
                  <c:v>26.3</c:v>
                </c:pt>
                <c:pt idx="3345">
                  <c:v>28.419999999999987</c:v>
                </c:pt>
                <c:pt idx="3346">
                  <c:v>22.99</c:v>
                </c:pt>
                <c:pt idx="3347">
                  <c:v>47.97</c:v>
                </c:pt>
                <c:pt idx="3348">
                  <c:v>23.95</c:v>
                </c:pt>
                <c:pt idx="3349">
                  <c:v>18.36</c:v>
                </c:pt>
                <c:pt idx="3350">
                  <c:v>32.92</c:v>
                </c:pt>
                <c:pt idx="3351">
                  <c:v>34.01</c:v>
                </c:pt>
                <c:pt idx="3352">
                  <c:v>29.919999999999987</c:v>
                </c:pt>
                <c:pt idx="3353">
                  <c:v>30</c:v>
                </c:pt>
                <c:pt idx="3354">
                  <c:v>38.96</c:v>
                </c:pt>
                <c:pt idx="3355">
                  <c:v>28.56</c:v>
                </c:pt>
                <c:pt idx="3356">
                  <c:v>47</c:v>
                </c:pt>
                <c:pt idx="3357">
                  <c:v>40.21</c:v>
                </c:pt>
                <c:pt idx="3358">
                  <c:v>35.57</c:v>
                </c:pt>
                <c:pt idx="3359">
                  <c:v>27.19</c:v>
                </c:pt>
                <c:pt idx="3360">
                  <c:v>26.1</c:v>
                </c:pt>
                <c:pt idx="3361">
                  <c:v>32.15</c:v>
                </c:pt>
                <c:pt idx="3362">
                  <c:v>48.13</c:v>
                </c:pt>
                <c:pt idx="3363">
                  <c:v>30.66</c:v>
                </c:pt>
                <c:pt idx="3364">
                  <c:v>25.89</c:v>
                </c:pt>
                <c:pt idx="3365">
                  <c:v>32.840000000000003</c:v>
                </c:pt>
                <c:pt idx="3366">
                  <c:v>25.06</c:v>
                </c:pt>
                <c:pt idx="3367">
                  <c:v>26.01</c:v>
                </c:pt>
                <c:pt idx="3368">
                  <c:v>24.65000000000002</c:v>
                </c:pt>
                <c:pt idx="3369">
                  <c:v>25.22</c:v>
                </c:pt>
                <c:pt idx="3370">
                  <c:v>41.6</c:v>
                </c:pt>
                <c:pt idx="3371">
                  <c:v>34.9</c:v>
                </c:pt>
                <c:pt idx="3372">
                  <c:v>23.88</c:v>
                </c:pt>
                <c:pt idx="3373">
                  <c:v>28.81000000000002</c:v>
                </c:pt>
                <c:pt idx="3374">
                  <c:v>30.01</c:v>
                </c:pt>
                <c:pt idx="3375">
                  <c:v>24.08</c:v>
                </c:pt>
                <c:pt idx="3376">
                  <c:v>20.85</c:v>
                </c:pt>
                <c:pt idx="3377">
                  <c:v>44.2</c:v>
                </c:pt>
                <c:pt idx="3378">
                  <c:v>25.02</c:v>
                </c:pt>
                <c:pt idx="3379">
                  <c:v>25.07</c:v>
                </c:pt>
                <c:pt idx="3380">
                  <c:v>25.02</c:v>
                </c:pt>
                <c:pt idx="3381">
                  <c:v>23.72</c:v>
                </c:pt>
                <c:pt idx="3382">
                  <c:v>45.39</c:v>
                </c:pt>
                <c:pt idx="3383">
                  <c:v>26.939999999999987</c:v>
                </c:pt>
                <c:pt idx="3384">
                  <c:v>33.75</c:v>
                </c:pt>
                <c:pt idx="3385">
                  <c:v>30.59</c:v>
                </c:pt>
                <c:pt idx="3386">
                  <c:v>15.9</c:v>
                </c:pt>
                <c:pt idx="3387">
                  <c:v>31.85</c:v>
                </c:pt>
                <c:pt idx="3388">
                  <c:v>3.53</c:v>
                </c:pt>
                <c:pt idx="3389">
                  <c:v>28.959999999999987</c:v>
                </c:pt>
                <c:pt idx="3390">
                  <c:v>35.75</c:v>
                </c:pt>
                <c:pt idx="3391">
                  <c:v>24.51</c:v>
                </c:pt>
                <c:pt idx="3392">
                  <c:v>23.87</c:v>
                </c:pt>
                <c:pt idx="3393">
                  <c:v>19.16</c:v>
                </c:pt>
                <c:pt idx="3394">
                  <c:v>30.69</c:v>
                </c:pt>
                <c:pt idx="3395">
                  <c:v>16.43</c:v>
                </c:pt>
                <c:pt idx="3396">
                  <c:v>35.07</c:v>
                </c:pt>
                <c:pt idx="3397">
                  <c:v>56.55</c:v>
                </c:pt>
                <c:pt idx="3398">
                  <c:v>23.55</c:v>
                </c:pt>
                <c:pt idx="3399">
                  <c:v>27.75</c:v>
                </c:pt>
                <c:pt idx="3400">
                  <c:v>25.74</c:v>
                </c:pt>
                <c:pt idx="3401">
                  <c:v>24.54</c:v>
                </c:pt>
                <c:pt idx="3402">
                  <c:v>25.37</c:v>
                </c:pt>
                <c:pt idx="3403">
                  <c:v>74.930000000000007</c:v>
                </c:pt>
                <c:pt idx="3404">
                  <c:v>28.47</c:v>
                </c:pt>
                <c:pt idx="3405">
                  <c:v>46.93</c:v>
                </c:pt>
                <c:pt idx="3406">
                  <c:v>29.1</c:v>
                </c:pt>
                <c:pt idx="3407">
                  <c:v>47.190000000000012</c:v>
                </c:pt>
                <c:pt idx="3408">
                  <c:v>38.94</c:v>
                </c:pt>
                <c:pt idx="3409">
                  <c:v>24.87</c:v>
                </c:pt>
                <c:pt idx="3410">
                  <c:v>29.939999999999987</c:v>
                </c:pt>
                <c:pt idx="3411">
                  <c:v>39.980000000000004</c:v>
                </c:pt>
                <c:pt idx="3412">
                  <c:v>36.14</c:v>
                </c:pt>
                <c:pt idx="3413">
                  <c:v>41.8</c:v>
                </c:pt>
                <c:pt idx="3414">
                  <c:v>27.919999999999987</c:v>
                </c:pt>
                <c:pt idx="3415">
                  <c:v>28.59</c:v>
                </c:pt>
                <c:pt idx="3416">
                  <c:v>42.230000000000011</c:v>
                </c:pt>
                <c:pt idx="3417">
                  <c:v>51.46</c:v>
                </c:pt>
                <c:pt idx="3418">
                  <c:v>11.97</c:v>
                </c:pt>
                <c:pt idx="3419">
                  <c:v>44.17</c:v>
                </c:pt>
                <c:pt idx="3420">
                  <c:v>44.77</c:v>
                </c:pt>
                <c:pt idx="3421">
                  <c:v>37</c:v>
                </c:pt>
                <c:pt idx="3422">
                  <c:v>28.12</c:v>
                </c:pt>
                <c:pt idx="3423">
                  <c:v>29.4</c:v>
                </c:pt>
                <c:pt idx="3424">
                  <c:v>24.830000000000005</c:v>
                </c:pt>
                <c:pt idx="3425">
                  <c:v>37.83</c:v>
                </c:pt>
                <c:pt idx="3426">
                  <c:v>29.9</c:v>
                </c:pt>
                <c:pt idx="3427">
                  <c:v>44.51</c:v>
                </c:pt>
                <c:pt idx="3428">
                  <c:v>11.950000000000006</c:v>
                </c:pt>
                <c:pt idx="3429">
                  <c:v>28.49</c:v>
                </c:pt>
                <c:pt idx="3430">
                  <c:v>36</c:v>
                </c:pt>
                <c:pt idx="3431">
                  <c:v>26.939999999999987</c:v>
                </c:pt>
                <c:pt idx="3432">
                  <c:v>22.05</c:v>
                </c:pt>
                <c:pt idx="3433">
                  <c:v>26.5</c:v>
                </c:pt>
                <c:pt idx="3434">
                  <c:v>24.52</c:v>
                </c:pt>
                <c:pt idx="3435">
                  <c:v>27.79</c:v>
                </c:pt>
                <c:pt idx="3436">
                  <c:v>42.99</c:v>
                </c:pt>
                <c:pt idx="3437">
                  <c:v>27.75</c:v>
                </c:pt>
                <c:pt idx="3438">
                  <c:v>30.52</c:v>
                </c:pt>
                <c:pt idx="3439">
                  <c:v>29.73</c:v>
                </c:pt>
                <c:pt idx="3440">
                  <c:v>18.62</c:v>
                </c:pt>
                <c:pt idx="3441">
                  <c:v>29.06</c:v>
                </c:pt>
                <c:pt idx="3442">
                  <c:v>29.43</c:v>
                </c:pt>
                <c:pt idx="3443">
                  <c:v>26.02</c:v>
                </c:pt>
                <c:pt idx="3444">
                  <c:v>30.04</c:v>
                </c:pt>
                <c:pt idx="3445">
                  <c:v>15.11</c:v>
                </c:pt>
                <c:pt idx="3446">
                  <c:v>45.04</c:v>
                </c:pt>
                <c:pt idx="3447">
                  <c:v>39.790000000000013</c:v>
                </c:pt>
                <c:pt idx="3448">
                  <c:v>28.14</c:v>
                </c:pt>
                <c:pt idx="3449">
                  <c:v>40.050000000000004</c:v>
                </c:pt>
                <c:pt idx="3450">
                  <c:v>28.07</c:v>
                </c:pt>
                <c:pt idx="3451">
                  <c:v>26.27</c:v>
                </c:pt>
                <c:pt idx="3452">
                  <c:v>14.23</c:v>
                </c:pt>
                <c:pt idx="3453">
                  <c:v>18.579999999999988</c:v>
                </c:pt>
                <c:pt idx="3454">
                  <c:v>18.010000000000005</c:v>
                </c:pt>
                <c:pt idx="3455">
                  <c:v>39.950000000000003</c:v>
                </c:pt>
                <c:pt idx="3456">
                  <c:v>34.980000000000004</c:v>
                </c:pt>
                <c:pt idx="3457">
                  <c:v>33.1</c:v>
                </c:pt>
                <c:pt idx="3458">
                  <c:v>35.04</c:v>
                </c:pt>
                <c:pt idx="3459">
                  <c:v>33.81</c:v>
                </c:pt>
                <c:pt idx="3460">
                  <c:v>25.93</c:v>
                </c:pt>
                <c:pt idx="3461">
                  <c:v>32.07</c:v>
                </c:pt>
                <c:pt idx="3462">
                  <c:v>30.85</c:v>
                </c:pt>
                <c:pt idx="3463">
                  <c:v>36.08</c:v>
                </c:pt>
                <c:pt idx="3464">
                  <c:v>35.71</c:v>
                </c:pt>
                <c:pt idx="3465">
                  <c:v>37.85</c:v>
                </c:pt>
                <c:pt idx="3466">
                  <c:v>28.15000000000002</c:v>
                </c:pt>
                <c:pt idx="3467">
                  <c:v>14.870000000000006</c:v>
                </c:pt>
                <c:pt idx="3468">
                  <c:v>23.35</c:v>
                </c:pt>
                <c:pt idx="3469">
                  <c:v>26.97</c:v>
                </c:pt>
                <c:pt idx="3470">
                  <c:v>30.85</c:v>
                </c:pt>
                <c:pt idx="3471">
                  <c:v>21.419999999999987</c:v>
                </c:pt>
                <c:pt idx="3472">
                  <c:v>43.51</c:v>
                </c:pt>
                <c:pt idx="3473">
                  <c:v>55.97</c:v>
                </c:pt>
                <c:pt idx="3474">
                  <c:v>34.630000000000003</c:v>
                </c:pt>
                <c:pt idx="3475">
                  <c:v>49.88</c:v>
                </c:pt>
                <c:pt idx="3476">
                  <c:v>22.63000000000002</c:v>
                </c:pt>
                <c:pt idx="3477">
                  <c:v>36.020000000000003</c:v>
                </c:pt>
                <c:pt idx="3478">
                  <c:v>28.419999999999987</c:v>
                </c:pt>
                <c:pt idx="3479">
                  <c:v>36.54</c:v>
                </c:pt>
                <c:pt idx="3480">
                  <c:v>34.97</c:v>
                </c:pt>
                <c:pt idx="3481">
                  <c:v>38.370000000000005</c:v>
                </c:pt>
                <c:pt idx="3482">
                  <c:v>26.95</c:v>
                </c:pt>
                <c:pt idx="3483">
                  <c:v>42.1</c:v>
                </c:pt>
                <c:pt idx="3484">
                  <c:v>26.73</c:v>
                </c:pt>
                <c:pt idx="3485">
                  <c:v>40.050000000000004</c:v>
                </c:pt>
                <c:pt idx="3486">
                  <c:v>16.34</c:v>
                </c:pt>
                <c:pt idx="3487">
                  <c:v>30.39</c:v>
                </c:pt>
                <c:pt idx="3488">
                  <c:v>48.54</c:v>
                </c:pt>
                <c:pt idx="3489">
                  <c:v>29.38</c:v>
                </c:pt>
                <c:pt idx="3490">
                  <c:v>29.05</c:v>
                </c:pt>
                <c:pt idx="3491">
                  <c:v>26.01</c:v>
                </c:pt>
                <c:pt idx="3492">
                  <c:v>31.43</c:v>
                </c:pt>
                <c:pt idx="3493">
                  <c:v>48.97</c:v>
                </c:pt>
                <c:pt idx="3494">
                  <c:v>36.1</c:v>
                </c:pt>
                <c:pt idx="3495">
                  <c:v>27.54</c:v>
                </c:pt>
                <c:pt idx="3496">
                  <c:v>20.79</c:v>
                </c:pt>
                <c:pt idx="3497">
                  <c:v>27.47</c:v>
                </c:pt>
                <c:pt idx="3498">
                  <c:v>43.94</c:v>
                </c:pt>
                <c:pt idx="3499">
                  <c:v>33.96</c:v>
                </c:pt>
                <c:pt idx="3500">
                  <c:v>27.3</c:v>
                </c:pt>
                <c:pt idx="3501">
                  <c:v>34.730000000000011</c:v>
                </c:pt>
                <c:pt idx="3502">
                  <c:v>29.08</c:v>
                </c:pt>
                <c:pt idx="3503">
                  <c:v>40</c:v>
                </c:pt>
                <c:pt idx="3504">
                  <c:v>29.919999999999987</c:v>
                </c:pt>
                <c:pt idx="3505">
                  <c:v>32.760000000000012</c:v>
                </c:pt>
                <c:pt idx="3506">
                  <c:v>39.1</c:v>
                </c:pt>
                <c:pt idx="3507">
                  <c:v>22.09</c:v>
                </c:pt>
                <c:pt idx="3508">
                  <c:v>23.04</c:v>
                </c:pt>
                <c:pt idx="3509">
                  <c:v>30.59</c:v>
                </c:pt>
                <c:pt idx="3510">
                  <c:v>35.68</c:v>
                </c:pt>
                <c:pt idx="3511">
                  <c:v>36.21</c:v>
                </c:pt>
                <c:pt idx="3512">
                  <c:v>16.86</c:v>
                </c:pt>
                <c:pt idx="3513">
                  <c:v>29.84</c:v>
                </c:pt>
                <c:pt idx="3514">
                  <c:v>30.71</c:v>
                </c:pt>
                <c:pt idx="3515">
                  <c:v>46.55</c:v>
                </c:pt>
                <c:pt idx="3516">
                  <c:v>15.88</c:v>
                </c:pt>
                <c:pt idx="3517">
                  <c:v>39.92</c:v>
                </c:pt>
                <c:pt idx="3518">
                  <c:v>24.09</c:v>
                </c:pt>
                <c:pt idx="3519">
                  <c:v>27.19</c:v>
                </c:pt>
                <c:pt idx="3520">
                  <c:v>32.03</c:v>
                </c:pt>
                <c:pt idx="3521">
                  <c:v>32.31</c:v>
                </c:pt>
                <c:pt idx="3522">
                  <c:v>45.74</c:v>
                </c:pt>
                <c:pt idx="3523">
                  <c:v>33.78</c:v>
                </c:pt>
                <c:pt idx="3524">
                  <c:v>31.62</c:v>
                </c:pt>
                <c:pt idx="3525">
                  <c:v>38.220000000000013</c:v>
                </c:pt>
                <c:pt idx="3526">
                  <c:v>35.5</c:v>
                </c:pt>
                <c:pt idx="3527">
                  <c:v>40.96</c:v>
                </c:pt>
                <c:pt idx="3528">
                  <c:v>34.660000000000011</c:v>
                </c:pt>
                <c:pt idx="3529">
                  <c:v>49.94</c:v>
                </c:pt>
                <c:pt idx="3530">
                  <c:v>22.84</c:v>
                </c:pt>
                <c:pt idx="3531">
                  <c:v>17.100000000000001</c:v>
                </c:pt>
                <c:pt idx="3532">
                  <c:v>40.07</c:v>
                </c:pt>
                <c:pt idx="3533">
                  <c:v>33.950000000000003</c:v>
                </c:pt>
                <c:pt idx="3534">
                  <c:v>15.39</c:v>
                </c:pt>
                <c:pt idx="3535">
                  <c:v>22.24</c:v>
                </c:pt>
                <c:pt idx="3536">
                  <c:v>19.760000000000002</c:v>
                </c:pt>
                <c:pt idx="3537">
                  <c:v>26.81000000000002</c:v>
                </c:pt>
                <c:pt idx="3538">
                  <c:v>26.5</c:v>
                </c:pt>
                <c:pt idx="3539">
                  <c:v>47.2</c:v>
                </c:pt>
                <c:pt idx="3540">
                  <c:v>29.09</c:v>
                </c:pt>
                <c:pt idx="3541">
                  <c:v>31.3</c:v>
                </c:pt>
                <c:pt idx="3542">
                  <c:v>37.92</c:v>
                </c:pt>
                <c:pt idx="3543">
                  <c:v>45.4</c:v>
                </c:pt>
                <c:pt idx="3544">
                  <c:v>24.68</c:v>
                </c:pt>
                <c:pt idx="3545">
                  <c:v>30.02</c:v>
                </c:pt>
                <c:pt idx="3546">
                  <c:v>27.419999999999987</c:v>
                </c:pt>
                <c:pt idx="3547">
                  <c:v>24.479999999999986</c:v>
                </c:pt>
                <c:pt idx="3548">
                  <c:v>38.35</c:v>
                </c:pt>
                <c:pt idx="3549">
                  <c:v>53.33</c:v>
                </c:pt>
                <c:pt idx="3550">
                  <c:v>36.660000000000011</c:v>
                </c:pt>
                <c:pt idx="3551">
                  <c:v>57.01</c:v>
                </c:pt>
                <c:pt idx="3552">
                  <c:v>46.92</c:v>
                </c:pt>
                <c:pt idx="3553">
                  <c:v>35.14</c:v>
                </c:pt>
                <c:pt idx="3554">
                  <c:v>42.64</c:v>
                </c:pt>
                <c:pt idx="3555">
                  <c:v>37.97</c:v>
                </c:pt>
                <c:pt idx="3556">
                  <c:v>31.04</c:v>
                </c:pt>
                <c:pt idx="3557">
                  <c:v>29.19</c:v>
                </c:pt>
                <c:pt idx="3558">
                  <c:v>24</c:v>
                </c:pt>
                <c:pt idx="3559">
                  <c:v>52.92</c:v>
                </c:pt>
                <c:pt idx="3560">
                  <c:v>22.06</c:v>
                </c:pt>
                <c:pt idx="3561">
                  <c:v>23.74</c:v>
                </c:pt>
                <c:pt idx="3562">
                  <c:v>28.74</c:v>
                </c:pt>
                <c:pt idx="3563">
                  <c:v>44.98</c:v>
                </c:pt>
                <c:pt idx="3564">
                  <c:v>15.94</c:v>
                </c:pt>
                <c:pt idx="3565">
                  <c:v>27.63000000000002</c:v>
                </c:pt>
                <c:pt idx="3566">
                  <c:v>31.959999999999987</c:v>
                </c:pt>
                <c:pt idx="3567">
                  <c:v>40.39</c:v>
                </c:pt>
                <c:pt idx="3568">
                  <c:v>45.7</c:v>
                </c:pt>
                <c:pt idx="3569">
                  <c:v>34.97</c:v>
                </c:pt>
                <c:pt idx="3570">
                  <c:v>44.94</c:v>
                </c:pt>
                <c:pt idx="3571">
                  <c:v>30.03</c:v>
                </c:pt>
                <c:pt idx="3572">
                  <c:v>21.06</c:v>
                </c:pt>
                <c:pt idx="3573">
                  <c:v>23.55</c:v>
                </c:pt>
                <c:pt idx="3574">
                  <c:v>19.260000000000002</c:v>
                </c:pt>
                <c:pt idx="3575">
                  <c:v>41.3</c:v>
                </c:pt>
                <c:pt idx="3576">
                  <c:v>23.97</c:v>
                </c:pt>
                <c:pt idx="3577">
                  <c:v>29.979999999999986</c:v>
                </c:pt>
                <c:pt idx="3578">
                  <c:v>41.93</c:v>
                </c:pt>
                <c:pt idx="3579">
                  <c:v>22.610000000000021</c:v>
                </c:pt>
                <c:pt idx="3580">
                  <c:v>47.28</c:v>
                </c:pt>
                <c:pt idx="3581">
                  <c:v>35.46</c:v>
                </c:pt>
                <c:pt idx="3582">
                  <c:v>26.759999999999987</c:v>
                </c:pt>
                <c:pt idx="3583">
                  <c:v>39.200000000000003</c:v>
                </c:pt>
                <c:pt idx="3584">
                  <c:v>47.51</c:v>
                </c:pt>
                <c:pt idx="3585">
                  <c:v>32.75</c:v>
                </c:pt>
                <c:pt idx="3586">
                  <c:v>29.330000000000005</c:v>
                </c:pt>
                <c:pt idx="3587">
                  <c:v>32.480000000000004</c:v>
                </c:pt>
                <c:pt idx="3588">
                  <c:v>28.99</c:v>
                </c:pt>
                <c:pt idx="3589">
                  <c:v>25.4</c:v>
                </c:pt>
                <c:pt idx="3590">
                  <c:v>28.9</c:v>
                </c:pt>
                <c:pt idx="3591">
                  <c:v>50.58</c:v>
                </c:pt>
                <c:pt idx="3592">
                  <c:v>40.020000000000003</c:v>
                </c:pt>
                <c:pt idx="3593">
                  <c:v>15.85000000000001</c:v>
                </c:pt>
                <c:pt idx="3594">
                  <c:v>31.43</c:v>
                </c:pt>
                <c:pt idx="3595">
                  <c:v>42.05</c:v>
                </c:pt>
                <c:pt idx="3596">
                  <c:v>31.68</c:v>
                </c:pt>
                <c:pt idx="3597">
                  <c:v>24.259999999999987</c:v>
                </c:pt>
                <c:pt idx="3598">
                  <c:v>26.24</c:v>
                </c:pt>
                <c:pt idx="3599">
                  <c:v>32.32</c:v>
                </c:pt>
                <c:pt idx="3600">
                  <c:v>52.95</c:v>
                </c:pt>
                <c:pt idx="3601">
                  <c:v>30.38</c:v>
                </c:pt>
                <c:pt idx="3602">
                  <c:v>33.97</c:v>
                </c:pt>
                <c:pt idx="3603">
                  <c:v>37.590000000000003</c:v>
                </c:pt>
                <c:pt idx="3604">
                  <c:v>31.99</c:v>
                </c:pt>
                <c:pt idx="3605">
                  <c:v>22.13000000000002</c:v>
                </c:pt>
                <c:pt idx="3606">
                  <c:v>32.290000000000013</c:v>
                </c:pt>
                <c:pt idx="3607">
                  <c:v>42.99</c:v>
                </c:pt>
                <c:pt idx="3608">
                  <c:v>35.950000000000003</c:v>
                </c:pt>
                <c:pt idx="3609">
                  <c:v>17.23</c:v>
                </c:pt>
                <c:pt idx="3610">
                  <c:v>45.96</c:v>
                </c:pt>
                <c:pt idx="3611">
                  <c:v>30.01</c:v>
                </c:pt>
                <c:pt idx="3612">
                  <c:v>31.04</c:v>
                </c:pt>
                <c:pt idx="3613">
                  <c:v>26.07</c:v>
                </c:pt>
                <c:pt idx="3614">
                  <c:v>35.32</c:v>
                </c:pt>
                <c:pt idx="3615">
                  <c:v>42.51</c:v>
                </c:pt>
                <c:pt idx="3616">
                  <c:v>44.93</c:v>
                </c:pt>
                <c:pt idx="3617">
                  <c:v>28.779999999999987</c:v>
                </c:pt>
                <c:pt idx="3618">
                  <c:v>25.14</c:v>
                </c:pt>
                <c:pt idx="3619">
                  <c:v>37.880000000000003</c:v>
                </c:pt>
                <c:pt idx="3620">
                  <c:v>33.15</c:v>
                </c:pt>
                <c:pt idx="3621">
                  <c:v>65.959999999999994</c:v>
                </c:pt>
                <c:pt idx="3622">
                  <c:v>23.59</c:v>
                </c:pt>
                <c:pt idx="3623">
                  <c:v>25.86</c:v>
                </c:pt>
                <c:pt idx="3624">
                  <c:v>48.07</c:v>
                </c:pt>
                <c:pt idx="3625">
                  <c:v>39.93</c:v>
                </c:pt>
                <c:pt idx="3626">
                  <c:v>39.14</c:v>
                </c:pt>
                <c:pt idx="3627">
                  <c:v>38.25</c:v>
                </c:pt>
                <c:pt idx="3628">
                  <c:v>26.34</c:v>
                </c:pt>
                <c:pt idx="3629">
                  <c:v>18.420000000000002</c:v>
                </c:pt>
                <c:pt idx="3630">
                  <c:v>26.259999999999987</c:v>
                </c:pt>
                <c:pt idx="3631">
                  <c:v>-4.2300000000000004</c:v>
                </c:pt>
                <c:pt idx="3632">
                  <c:v>36.08</c:v>
                </c:pt>
                <c:pt idx="3633">
                  <c:v>27.979999999999986</c:v>
                </c:pt>
                <c:pt idx="3634">
                  <c:v>21.68</c:v>
                </c:pt>
                <c:pt idx="3635">
                  <c:v>48</c:v>
                </c:pt>
                <c:pt idx="3636">
                  <c:v>36.81</c:v>
                </c:pt>
                <c:pt idx="3637">
                  <c:v>32.220000000000013</c:v>
                </c:pt>
                <c:pt idx="3638">
                  <c:v>12.07</c:v>
                </c:pt>
                <c:pt idx="3639">
                  <c:v>26.38</c:v>
                </c:pt>
                <c:pt idx="3640">
                  <c:v>26.45</c:v>
                </c:pt>
                <c:pt idx="3641">
                  <c:v>19.04</c:v>
                </c:pt>
                <c:pt idx="3642">
                  <c:v>25.75</c:v>
                </c:pt>
                <c:pt idx="3643">
                  <c:v>36.46</c:v>
                </c:pt>
                <c:pt idx="3644">
                  <c:v>35.92</c:v>
                </c:pt>
                <c:pt idx="3645">
                  <c:v>37.9</c:v>
                </c:pt>
                <c:pt idx="3646">
                  <c:v>14.25</c:v>
                </c:pt>
                <c:pt idx="3647">
                  <c:v>30.86</c:v>
                </c:pt>
                <c:pt idx="3648">
                  <c:v>26.4</c:v>
                </c:pt>
                <c:pt idx="3649">
                  <c:v>27.38</c:v>
                </c:pt>
                <c:pt idx="3650">
                  <c:v>28.72</c:v>
                </c:pt>
                <c:pt idx="3651">
                  <c:v>29.08</c:v>
                </c:pt>
                <c:pt idx="3652">
                  <c:v>41.56</c:v>
                </c:pt>
                <c:pt idx="3653">
                  <c:v>29</c:v>
                </c:pt>
                <c:pt idx="3654">
                  <c:v>38.980000000000004</c:v>
                </c:pt>
                <c:pt idx="3655">
                  <c:v>42.46</c:v>
                </c:pt>
                <c:pt idx="3656">
                  <c:v>17.100000000000001</c:v>
                </c:pt>
                <c:pt idx="3657">
                  <c:v>28.2</c:v>
                </c:pt>
                <c:pt idx="3658">
                  <c:v>40</c:v>
                </c:pt>
                <c:pt idx="3659">
                  <c:v>25.05</c:v>
                </c:pt>
                <c:pt idx="3660">
                  <c:v>25.57</c:v>
                </c:pt>
                <c:pt idx="3661">
                  <c:v>23.939999999999987</c:v>
                </c:pt>
                <c:pt idx="3662">
                  <c:v>51.41</c:v>
                </c:pt>
                <c:pt idx="3663">
                  <c:v>35.9</c:v>
                </c:pt>
                <c:pt idx="3664">
                  <c:v>15.17</c:v>
                </c:pt>
                <c:pt idx="3665">
                  <c:v>25.08</c:v>
                </c:pt>
                <c:pt idx="3666">
                  <c:v>29.959999999999987</c:v>
                </c:pt>
                <c:pt idx="3667">
                  <c:v>28.439999999999987</c:v>
                </c:pt>
                <c:pt idx="3668">
                  <c:v>28.259999999999987</c:v>
                </c:pt>
                <c:pt idx="3669">
                  <c:v>19.079999999999988</c:v>
                </c:pt>
                <c:pt idx="3670">
                  <c:v>46.91</c:v>
                </c:pt>
                <c:pt idx="3671">
                  <c:v>27.72</c:v>
                </c:pt>
                <c:pt idx="3672">
                  <c:v>39.92</c:v>
                </c:pt>
                <c:pt idx="3673">
                  <c:v>45.98</c:v>
                </c:pt>
                <c:pt idx="3674">
                  <c:v>27.77</c:v>
                </c:pt>
                <c:pt idx="3675">
                  <c:v>36.57</c:v>
                </c:pt>
                <c:pt idx="3676">
                  <c:v>26.8</c:v>
                </c:pt>
                <c:pt idx="3677">
                  <c:v>45.28</c:v>
                </c:pt>
                <c:pt idx="3678">
                  <c:v>39.980000000000004</c:v>
                </c:pt>
                <c:pt idx="3679">
                  <c:v>21.99</c:v>
                </c:pt>
                <c:pt idx="3680">
                  <c:v>26.74</c:v>
                </c:pt>
                <c:pt idx="3681">
                  <c:v>30.09</c:v>
                </c:pt>
                <c:pt idx="3682">
                  <c:v>19.91</c:v>
                </c:pt>
                <c:pt idx="3683">
                  <c:v>29.57</c:v>
                </c:pt>
                <c:pt idx="3684">
                  <c:v>22.32</c:v>
                </c:pt>
                <c:pt idx="3685">
                  <c:v>42.45</c:v>
                </c:pt>
                <c:pt idx="3686">
                  <c:v>28.759999999999987</c:v>
                </c:pt>
                <c:pt idx="3687">
                  <c:v>28.6</c:v>
                </c:pt>
                <c:pt idx="3688">
                  <c:v>17.920000000000002</c:v>
                </c:pt>
                <c:pt idx="3689">
                  <c:v>28.5</c:v>
                </c:pt>
                <c:pt idx="3690">
                  <c:v>38.17</c:v>
                </c:pt>
                <c:pt idx="3691">
                  <c:v>33.120000000000012</c:v>
                </c:pt>
                <c:pt idx="3692">
                  <c:v>21.979999999999986</c:v>
                </c:pt>
                <c:pt idx="3693">
                  <c:v>27.6</c:v>
                </c:pt>
                <c:pt idx="3694">
                  <c:v>31.09</c:v>
                </c:pt>
                <c:pt idx="3695">
                  <c:v>33.910000000000004</c:v>
                </c:pt>
                <c:pt idx="3696">
                  <c:v>43.75</c:v>
                </c:pt>
                <c:pt idx="3697">
                  <c:v>25.05</c:v>
                </c:pt>
                <c:pt idx="3698">
                  <c:v>34.840000000000003</c:v>
                </c:pt>
                <c:pt idx="3699">
                  <c:v>19.95</c:v>
                </c:pt>
                <c:pt idx="3700">
                  <c:v>33.42</c:v>
                </c:pt>
                <c:pt idx="3701">
                  <c:v>23.77</c:v>
                </c:pt>
                <c:pt idx="3702">
                  <c:v>51.660000000000011</c:v>
                </c:pt>
                <c:pt idx="3703">
                  <c:v>38.050000000000004</c:v>
                </c:pt>
                <c:pt idx="3704">
                  <c:v>43.37</c:v>
                </c:pt>
                <c:pt idx="3705">
                  <c:v>34.720000000000013</c:v>
                </c:pt>
                <c:pt idx="3706">
                  <c:v>46.05</c:v>
                </c:pt>
                <c:pt idx="3707">
                  <c:v>20.66</c:v>
                </c:pt>
                <c:pt idx="3708">
                  <c:v>43.88</c:v>
                </c:pt>
                <c:pt idx="3709">
                  <c:v>57.91</c:v>
                </c:pt>
                <c:pt idx="3710">
                  <c:v>27.459999999999987</c:v>
                </c:pt>
                <c:pt idx="3711">
                  <c:v>51.46</c:v>
                </c:pt>
                <c:pt idx="3712">
                  <c:v>0.1</c:v>
                </c:pt>
                <c:pt idx="3713">
                  <c:v>15.66</c:v>
                </c:pt>
                <c:pt idx="3714">
                  <c:v>32.75</c:v>
                </c:pt>
                <c:pt idx="3715">
                  <c:v>25.16</c:v>
                </c:pt>
                <c:pt idx="3716">
                  <c:v>28.66</c:v>
                </c:pt>
                <c:pt idx="3717">
                  <c:v>32.65</c:v>
                </c:pt>
                <c:pt idx="3718">
                  <c:v>22.31000000000002</c:v>
                </c:pt>
                <c:pt idx="3719">
                  <c:v>15.96</c:v>
                </c:pt>
                <c:pt idx="3720">
                  <c:v>36.07</c:v>
                </c:pt>
                <c:pt idx="3721">
                  <c:v>28.939999999999987</c:v>
                </c:pt>
                <c:pt idx="3722">
                  <c:v>25.39</c:v>
                </c:pt>
                <c:pt idx="3723">
                  <c:v>26.39</c:v>
                </c:pt>
                <c:pt idx="3724">
                  <c:v>22.64</c:v>
                </c:pt>
                <c:pt idx="3725">
                  <c:v>32.92</c:v>
                </c:pt>
                <c:pt idx="3726">
                  <c:v>23.95</c:v>
                </c:pt>
                <c:pt idx="3727">
                  <c:v>22.110000000000021</c:v>
                </c:pt>
                <c:pt idx="3728">
                  <c:v>44.4</c:v>
                </c:pt>
                <c:pt idx="3729">
                  <c:v>30.66</c:v>
                </c:pt>
                <c:pt idx="3730">
                  <c:v>25.93</c:v>
                </c:pt>
                <c:pt idx="3731">
                  <c:v>30.62</c:v>
                </c:pt>
                <c:pt idx="3732">
                  <c:v>26.16</c:v>
                </c:pt>
                <c:pt idx="3733">
                  <c:v>45.06</c:v>
                </c:pt>
                <c:pt idx="3734">
                  <c:v>42</c:v>
                </c:pt>
                <c:pt idx="3735">
                  <c:v>23.259999999999987</c:v>
                </c:pt>
                <c:pt idx="3736">
                  <c:v>34.94</c:v>
                </c:pt>
                <c:pt idx="3737">
                  <c:v>31.75</c:v>
                </c:pt>
                <c:pt idx="3738">
                  <c:v>24.2</c:v>
                </c:pt>
                <c:pt idx="3739">
                  <c:v>29.979999999999986</c:v>
                </c:pt>
                <c:pt idx="3740">
                  <c:v>28.18</c:v>
                </c:pt>
                <c:pt idx="3741">
                  <c:v>28.85</c:v>
                </c:pt>
                <c:pt idx="3742">
                  <c:v>27.15000000000002</c:v>
                </c:pt>
                <c:pt idx="3743">
                  <c:v>25.77</c:v>
                </c:pt>
                <c:pt idx="3744">
                  <c:v>24.330000000000005</c:v>
                </c:pt>
                <c:pt idx="3745">
                  <c:v>23.69</c:v>
                </c:pt>
                <c:pt idx="3746">
                  <c:v>44.720000000000013</c:v>
                </c:pt>
                <c:pt idx="3747">
                  <c:v>43.4</c:v>
                </c:pt>
                <c:pt idx="3748">
                  <c:v>22.1</c:v>
                </c:pt>
                <c:pt idx="3749">
                  <c:v>29.03</c:v>
                </c:pt>
                <c:pt idx="3750">
                  <c:v>29.02</c:v>
                </c:pt>
                <c:pt idx="3751">
                  <c:v>21.419999999999987</c:v>
                </c:pt>
                <c:pt idx="3752">
                  <c:v>36.94</c:v>
                </c:pt>
                <c:pt idx="3753">
                  <c:v>23.21</c:v>
                </c:pt>
                <c:pt idx="3754">
                  <c:v>30.57</c:v>
                </c:pt>
                <c:pt idx="3755">
                  <c:v>45.97</c:v>
                </c:pt>
                <c:pt idx="3756">
                  <c:v>45</c:v>
                </c:pt>
                <c:pt idx="3757">
                  <c:v>27.38</c:v>
                </c:pt>
                <c:pt idx="3758">
                  <c:v>25.439999999999987</c:v>
                </c:pt>
                <c:pt idx="3759">
                  <c:v>27.51</c:v>
                </c:pt>
                <c:pt idx="3760">
                  <c:v>34.520000000000003</c:v>
                </c:pt>
                <c:pt idx="3761">
                  <c:v>25.75</c:v>
                </c:pt>
                <c:pt idx="3762">
                  <c:v>31.02</c:v>
                </c:pt>
                <c:pt idx="3763">
                  <c:v>34.36</c:v>
                </c:pt>
                <c:pt idx="3764">
                  <c:v>24.439999999999987</c:v>
                </c:pt>
                <c:pt idx="3765">
                  <c:v>32.93</c:v>
                </c:pt>
                <c:pt idx="3766">
                  <c:v>27.02</c:v>
                </c:pt>
                <c:pt idx="3767">
                  <c:v>38.9</c:v>
                </c:pt>
                <c:pt idx="3768">
                  <c:v>25.330000000000005</c:v>
                </c:pt>
                <c:pt idx="3769">
                  <c:v>22.93</c:v>
                </c:pt>
                <c:pt idx="3770">
                  <c:v>30.54</c:v>
                </c:pt>
                <c:pt idx="3771">
                  <c:v>37.96</c:v>
                </c:pt>
                <c:pt idx="3772">
                  <c:v>24.110000000000021</c:v>
                </c:pt>
                <c:pt idx="3773">
                  <c:v>26.64</c:v>
                </c:pt>
                <c:pt idx="3774">
                  <c:v>51.45</c:v>
                </c:pt>
                <c:pt idx="3775">
                  <c:v>40.97</c:v>
                </c:pt>
                <c:pt idx="3776">
                  <c:v>27.95</c:v>
                </c:pt>
                <c:pt idx="3777">
                  <c:v>30.01</c:v>
                </c:pt>
                <c:pt idx="3778">
                  <c:v>26.91</c:v>
                </c:pt>
                <c:pt idx="3779">
                  <c:v>25.4</c:v>
                </c:pt>
                <c:pt idx="3780">
                  <c:v>35.99</c:v>
                </c:pt>
                <c:pt idx="3781">
                  <c:v>16.809999999999999</c:v>
                </c:pt>
                <c:pt idx="3782">
                  <c:v>28.24</c:v>
                </c:pt>
                <c:pt idx="3783">
                  <c:v>28.330000000000005</c:v>
                </c:pt>
                <c:pt idx="3784">
                  <c:v>39.99</c:v>
                </c:pt>
                <c:pt idx="3785">
                  <c:v>14.870000000000006</c:v>
                </c:pt>
                <c:pt idx="3786">
                  <c:v>37.64</c:v>
                </c:pt>
                <c:pt idx="3787">
                  <c:v>44.28</c:v>
                </c:pt>
                <c:pt idx="3788">
                  <c:v>34.4</c:v>
                </c:pt>
                <c:pt idx="3789">
                  <c:v>30.32</c:v>
                </c:pt>
                <c:pt idx="3790">
                  <c:v>14.12</c:v>
                </c:pt>
                <c:pt idx="3791">
                  <c:v>25.81000000000002</c:v>
                </c:pt>
                <c:pt idx="3792">
                  <c:v>28.23</c:v>
                </c:pt>
                <c:pt idx="3793">
                  <c:v>42.97</c:v>
                </c:pt>
                <c:pt idx="3794">
                  <c:v>30.38</c:v>
                </c:pt>
                <c:pt idx="3795">
                  <c:v>47.52</c:v>
                </c:pt>
                <c:pt idx="3796">
                  <c:v>50.65</c:v>
                </c:pt>
                <c:pt idx="3797">
                  <c:v>27.919999999999987</c:v>
                </c:pt>
                <c:pt idx="3798">
                  <c:v>35.270000000000003</c:v>
                </c:pt>
                <c:pt idx="3799">
                  <c:v>29.45</c:v>
                </c:pt>
                <c:pt idx="3800">
                  <c:v>19.459999999999987</c:v>
                </c:pt>
                <c:pt idx="3801">
                  <c:v>27.04</c:v>
                </c:pt>
                <c:pt idx="3802">
                  <c:v>31.99</c:v>
                </c:pt>
                <c:pt idx="3803">
                  <c:v>47.14</c:v>
                </c:pt>
                <c:pt idx="3804">
                  <c:v>24.99</c:v>
                </c:pt>
                <c:pt idx="3805">
                  <c:v>8.57</c:v>
                </c:pt>
                <c:pt idx="3806">
                  <c:v>21.19</c:v>
                </c:pt>
                <c:pt idx="3807">
                  <c:v>28</c:v>
                </c:pt>
                <c:pt idx="3808">
                  <c:v>33.450000000000003</c:v>
                </c:pt>
                <c:pt idx="3809">
                  <c:v>23.09</c:v>
                </c:pt>
                <c:pt idx="3810">
                  <c:v>30.14</c:v>
                </c:pt>
                <c:pt idx="3811">
                  <c:v>43.98</c:v>
                </c:pt>
                <c:pt idx="3812">
                  <c:v>27.2</c:v>
                </c:pt>
                <c:pt idx="3813">
                  <c:v>43.05</c:v>
                </c:pt>
                <c:pt idx="3814">
                  <c:v>31.24</c:v>
                </c:pt>
                <c:pt idx="3815">
                  <c:v>33.520000000000003</c:v>
                </c:pt>
                <c:pt idx="3816">
                  <c:v>47.01</c:v>
                </c:pt>
                <c:pt idx="3817">
                  <c:v>36.6</c:v>
                </c:pt>
                <c:pt idx="3818">
                  <c:v>45.7</c:v>
                </c:pt>
                <c:pt idx="3819">
                  <c:v>30.82</c:v>
                </c:pt>
                <c:pt idx="3820">
                  <c:v>47.99</c:v>
                </c:pt>
                <c:pt idx="3821">
                  <c:v>40.42</c:v>
                </c:pt>
                <c:pt idx="3822">
                  <c:v>22.24</c:v>
                </c:pt>
                <c:pt idx="3823">
                  <c:v>17.13000000000002</c:v>
                </c:pt>
                <c:pt idx="3824">
                  <c:v>34.17</c:v>
                </c:pt>
                <c:pt idx="3825">
                  <c:v>48.44</c:v>
                </c:pt>
                <c:pt idx="3826">
                  <c:v>58.95</c:v>
                </c:pt>
                <c:pt idx="3827">
                  <c:v>31.21</c:v>
                </c:pt>
                <c:pt idx="3828">
                  <c:v>48.260000000000012</c:v>
                </c:pt>
                <c:pt idx="3829">
                  <c:v>25.939999999999987</c:v>
                </c:pt>
                <c:pt idx="3830">
                  <c:v>46.99</c:v>
                </c:pt>
                <c:pt idx="3831">
                  <c:v>39.53</c:v>
                </c:pt>
                <c:pt idx="3832">
                  <c:v>31.9</c:v>
                </c:pt>
                <c:pt idx="3833">
                  <c:v>36.07</c:v>
                </c:pt>
                <c:pt idx="3834">
                  <c:v>27.07</c:v>
                </c:pt>
                <c:pt idx="3835">
                  <c:v>47.91</c:v>
                </c:pt>
                <c:pt idx="3836">
                  <c:v>46.9</c:v>
                </c:pt>
                <c:pt idx="3837">
                  <c:v>28</c:v>
                </c:pt>
                <c:pt idx="3838">
                  <c:v>24.5</c:v>
                </c:pt>
                <c:pt idx="3839">
                  <c:v>23.35</c:v>
                </c:pt>
                <c:pt idx="3840">
                  <c:v>50.15</c:v>
                </c:pt>
                <c:pt idx="3841">
                  <c:v>33.99</c:v>
                </c:pt>
                <c:pt idx="3842">
                  <c:v>25.95</c:v>
                </c:pt>
                <c:pt idx="3843">
                  <c:v>21.49</c:v>
                </c:pt>
                <c:pt idx="3844">
                  <c:v>29.9</c:v>
                </c:pt>
                <c:pt idx="3845">
                  <c:v>37.190000000000012</c:v>
                </c:pt>
                <c:pt idx="3846">
                  <c:v>15.35000000000001</c:v>
                </c:pt>
                <c:pt idx="3847">
                  <c:v>50.1</c:v>
                </c:pt>
                <c:pt idx="3848">
                  <c:v>32.050000000000004</c:v>
                </c:pt>
                <c:pt idx="3849">
                  <c:v>22.02</c:v>
                </c:pt>
                <c:pt idx="3850">
                  <c:v>25.37</c:v>
                </c:pt>
                <c:pt idx="3851">
                  <c:v>25.04</c:v>
                </c:pt>
                <c:pt idx="3852">
                  <c:v>35.51</c:v>
                </c:pt>
                <c:pt idx="3853">
                  <c:v>44.660000000000011</c:v>
                </c:pt>
                <c:pt idx="3854">
                  <c:v>26.35</c:v>
                </c:pt>
                <c:pt idx="3855">
                  <c:v>30.939999999999987</c:v>
                </c:pt>
                <c:pt idx="3856">
                  <c:v>25.21</c:v>
                </c:pt>
                <c:pt idx="3857">
                  <c:v>21.74</c:v>
                </c:pt>
                <c:pt idx="3858">
                  <c:v>35</c:v>
                </c:pt>
                <c:pt idx="3859">
                  <c:v>14.89</c:v>
                </c:pt>
                <c:pt idx="3860">
                  <c:v>44.98</c:v>
                </c:pt>
                <c:pt idx="3861">
                  <c:v>24.99</c:v>
                </c:pt>
                <c:pt idx="3862">
                  <c:v>37.64</c:v>
                </c:pt>
                <c:pt idx="3863">
                  <c:v>51.64</c:v>
                </c:pt>
                <c:pt idx="3864">
                  <c:v>32.520000000000003</c:v>
                </c:pt>
                <c:pt idx="3865">
                  <c:v>47.07</c:v>
                </c:pt>
                <c:pt idx="3866">
                  <c:v>31.81000000000002</c:v>
                </c:pt>
                <c:pt idx="3867">
                  <c:v>36.89</c:v>
                </c:pt>
                <c:pt idx="3868">
                  <c:v>42.54</c:v>
                </c:pt>
                <c:pt idx="3869">
                  <c:v>32.65</c:v>
                </c:pt>
                <c:pt idx="3870">
                  <c:v>23.02</c:v>
                </c:pt>
                <c:pt idx="3871">
                  <c:v>37.82</c:v>
                </c:pt>
                <c:pt idx="3872">
                  <c:v>29.53</c:v>
                </c:pt>
                <c:pt idx="3873">
                  <c:v>29.05</c:v>
                </c:pt>
                <c:pt idx="3874">
                  <c:v>39.47</c:v>
                </c:pt>
                <c:pt idx="3875">
                  <c:v>28.36</c:v>
                </c:pt>
                <c:pt idx="3876">
                  <c:v>27.71</c:v>
                </c:pt>
                <c:pt idx="3877">
                  <c:v>26.919999999999987</c:v>
                </c:pt>
                <c:pt idx="3878">
                  <c:v>30.93</c:v>
                </c:pt>
                <c:pt idx="3879">
                  <c:v>99.77</c:v>
                </c:pt>
                <c:pt idx="3880">
                  <c:v>33.68</c:v>
                </c:pt>
                <c:pt idx="3881">
                  <c:v>35.94</c:v>
                </c:pt>
                <c:pt idx="3882">
                  <c:v>32.910000000000004</c:v>
                </c:pt>
                <c:pt idx="3883">
                  <c:v>23.56</c:v>
                </c:pt>
                <c:pt idx="3884">
                  <c:v>26.21</c:v>
                </c:pt>
                <c:pt idx="3885">
                  <c:v>36.15</c:v>
                </c:pt>
                <c:pt idx="3886">
                  <c:v>39.99</c:v>
                </c:pt>
                <c:pt idx="3887">
                  <c:v>27.87</c:v>
                </c:pt>
                <c:pt idx="3888">
                  <c:v>35.97</c:v>
                </c:pt>
                <c:pt idx="3889">
                  <c:v>13.55</c:v>
                </c:pt>
                <c:pt idx="3890">
                  <c:v>33.53</c:v>
                </c:pt>
                <c:pt idx="3891">
                  <c:v>25.87</c:v>
                </c:pt>
                <c:pt idx="3892">
                  <c:v>36.92</c:v>
                </c:pt>
                <c:pt idx="3893">
                  <c:v>20.2</c:v>
                </c:pt>
                <c:pt idx="3894">
                  <c:v>40</c:v>
                </c:pt>
                <c:pt idx="3895">
                  <c:v>29.979999999999986</c:v>
                </c:pt>
                <c:pt idx="3896">
                  <c:v>35.14</c:v>
                </c:pt>
                <c:pt idx="3897">
                  <c:v>32.910000000000004</c:v>
                </c:pt>
                <c:pt idx="3898">
                  <c:v>49</c:v>
                </c:pt>
                <c:pt idx="3899">
                  <c:v>26.919999999999987</c:v>
                </c:pt>
                <c:pt idx="3900">
                  <c:v>46.31</c:v>
                </c:pt>
                <c:pt idx="3901">
                  <c:v>42.230000000000011</c:v>
                </c:pt>
                <c:pt idx="3902">
                  <c:v>15.75</c:v>
                </c:pt>
                <c:pt idx="3903">
                  <c:v>29.08</c:v>
                </c:pt>
                <c:pt idx="3904">
                  <c:v>36.14</c:v>
                </c:pt>
                <c:pt idx="3905">
                  <c:v>34.96</c:v>
                </c:pt>
                <c:pt idx="3906">
                  <c:v>26.69</c:v>
                </c:pt>
                <c:pt idx="3907">
                  <c:v>30</c:v>
                </c:pt>
                <c:pt idx="3908">
                  <c:v>55.81</c:v>
                </c:pt>
                <c:pt idx="3909">
                  <c:v>28.59</c:v>
                </c:pt>
                <c:pt idx="3910">
                  <c:v>23.7</c:v>
                </c:pt>
                <c:pt idx="3911">
                  <c:v>43.92</c:v>
                </c:pt>
                <c:pt idx="3912">
                  <c:v>28.51</c:v>
                </c:pt>
                <c:pt idx="3913">
                  <c:v>26.38</c:v>
                </c:pt>
                <c:pt idx="3914">
                  <c:v>51.160000000000011</c:v>
                </c:pt>
                <c:pt idx="3915">
                  <c:v>34.04</c:v>
                </c:pt>
                <c:pt idx="3916">
                  <c:v>69.489999999999995</c:v>
                </c:pt>
                <c:pt idx="3917">
                  <c:v>28.01</c:v>
                </c:pt>
                <c:pt idx="3918">
                  <c:v>39.980000000000004</c:v>
                </c:pt>
                <c:pt idx="3919">
                  <c:v>25.09</c:v>
                </c:pt>
                <c:pt idx="3920">
                  <c:v>40.57</c:v>
                </c:pt>
                <c:pt idx="3921">
                  <c:v>30.38</c:v>
                </c:pt>
                <c:pt idx="3922">
                  <c:v>41.9</c:v>
                </c:pt>
                <c:pt idx="3923">
                  <c:v>40.760000000000012</c:v>
                </c:pt>
                <c:pt idx="3924">
                  <c:v>49.56</c:v>
                </c:pt>
                <c:pt idx="3925">
                  <c:v>30.59</c:v>
                </c:pt>
                <c:pt idx="3926">
                  <c:v>40.68</c:v>
                </c:pt>
                <c:pt idx="3927">
                  <c:v>50.75</c:v>
                </c:pt>
                <c:pt idx="3928">
                  <c:v>30.9</c:v>
                </c:pt>
                <c:pt idx="3929">
                  <c:v>45.99</c:v>
                </c:pt>
                <c:pt idx="3930">
                  <c:v>25.93</c:v>
                </c:pt>
                <c:pt idx="3931">
                  <c:v>42.03</c:v>
                </c:pt>
                <c:pt idx="3932">
                  <c:v>38.760000000000012</c:v>
                </c:pt>
                <c:pt idx="3933">
                  <c:v>15.02</c:v>
                </c:pt>
                <c:pt idx="3934">
                  <c:v>52.230000000000011</c:v>
                </c:pt>
                <c:pt idx="3935">
                  <c:v>42.42</c:v>
                </c:pt>
                <c:pt idx="3936">
                  <c:v>53.220000000000013</c:v>
                </c:pt>
                <c:pt idx="3937">
                  <c:v>27.08</c:v>
                </c:pt>
                <c:pt idx="3938">
                  <c:v>54.92</c:v>
                </c:pt>
                <c:pt idx="3939">
                  <c:v>25.4</c:v>
                </c:pt>
                <c:pt idx="3940">
                  <c:v>41.92</c:v>
                </c:pt>
                <c:pt idx="3941">
                  <c:v>50.88</c:v>
                </c:pt>
                <c:pt idx="3942">
                  <c:v>18.979999999999986</c:v>
                </c:pt>
                <c:pt idx="3943">
                  <c:v>45.96</c:v>
                </c:pt>
                <c:pt idx="3944">
                  <c:v>25.14</c:v>
                </c:pt>
                <c:pt idx="3945">
                  <c:v>25.71</c:v>
                </c:pt>
                <c:pt idx="3946">
                  <c:v>43.02</c:v>
                </c:pt>
                <c:pt idx="3947">
                  <c:v>32.83</c:v>
                </c:pt>
                <c:pt idx="3948">
                  <c:v>38.03</c:v>
                </c:pt>
                <c:pt idx="3949">
                  <c:v>51.220000000000013</c:v>
                </c:pt>
                <c:pt idx="3950">
                  <c:v>28.69</c:v>
                </c:pt>
                <c:pt idx="3951">
                  <c:v>25.38</c:v>
                </c:pt>
                <c:pt idx="3952">
                  <c:v>34.83</c:v>
                </c:pt>
                <c:pt idx="3953">
                  <c:v>45.83</c:v>
                </c:pt>
                <c:pt idx="3954">
                  <c:v>30.279999999999987</c:v>
                </c:pt>
                <c:pt idx="3955">
                  <c:v>28.8</c:v>
                </c:pt>
                <c:pt idx="3956">
                  <c:v>34.24</c:v>
                </c:pt>
                <c:pt idx="3957">
                  <c:v>34.96</c:v>
                </c:pt>
                <c:pt idx="3958">
                  <c:v>20.51</c:v>
                </c:pt>
                <c:pt idx="3959">
                  <c:v>36.130000000000003</c:v>
                </c:pt>
                <c:pt idx="3960">
                  <c:v>27.05</c:v>
                </c:pt>
                <c:pt idx="3961">
                  <c:v>41.71</c:v>
                </c:pt>
                <c:pt idx="3962">
                  <c:v>27.279999999999987</c:v>
                </c:pt>
                <c:pt idx="3963">
                  <c:v>31.110000000000021</c:v>
                </c:pt>
                <c:pt idx="3964">
                  <c:v>31.89</c:v>
                </c:pt>
                <c:pt idx="3965">
                  <c:v>28.939999999999987</c:v>
                </c:pt>
                <c:pt idx="3966">
                  <c:v>22.7</c:v>
                </c:pt>
                <c:pt idx="3967">
                  <c:v>37.86</c:v>
                </c:pt>
                <c:pt idx="3968">
                  <c:v>23.5</c:v>
                </c:pt>
                <c:pt idx="3969">
                  <c:v>53.84</c:v>
                </c:pt>
                <c:pt idx="3970">
                  <c:v>30.01</c:v>
                </c:pt>
                <c:pt idx="3971">
                  <c:v>47.27</c:v>
                </c:pt>
                <c:pt idx="3972">
                  <c:v>54.1</c:v>
                </c:pt>
                <c:pt idx="3973">
                  <c:v>29.38</c:v>
                </c:pt>
                <c:pt idx="3974">
                  <c:v>19.07</c:v>
                </c:pt>
                <c:pt idx="3975">
                  <c:v>27.479999999999986</c:v>
                </c:pt>
                <c:pt idx="3976">
                  <c:v>28.95</c:v>
                </c:pt>
                <c:pt idx="3977">
                  <c:v>26.38</c:v>
                </c:pt>
                <c:pt idx="3978">
                  <c:v>42</c:v>
                </c:pt>
                <c:pt idx="3979">
                  <c:v>29.12</c:v>
                </c:pt>
                <c:pt idx="3980">
                  <c:v>37.980000000000004</c:v>
                </c:pt>
                <c:pt idx="3981">
                  <c:v>25.459999999999987</c:v>
                </c:pt>
                <c:pt idx="3982">
                  <c:v>25.01</c:v>
                </c:pt>
                <c:pt idx="3983">
                  <c:v>48.91</c:v>
                </c:pt>
                <c:pt idx="3984">
                  <c:v>27.23</c:v>
                </c:pt>
                <c:pt idx="3985">
                  <c:v>31.259999999999987</c:v>
                </c:pt>
                <c:pt idx="3986">
                  <c:v>26.79</c:v>
                </c:pt>
                <c:pt idx="3987">
                  <c:v>30.43</c:v>
                </c:pt>
                <c:pt idx="3988">
                  <c:v>27.02</c:v>
                </c:pt>
                <c:pt idx="3989">
                  <c:v>56.56</c:v>
                </c:pt>
                <c:pt idx="3990">
                  <c:v>27.97</c:v>
                </c:pt>
                <c:pt idx="3991">
                  <c:v>28.39</c:v>
                </c:pt>
                <c:pt idx="3992">
                  <c:v>40.9</c:v>
                </c:pt>
                <c:pt idx="3993">
                  <c:v>38.35</c:v>
                </c:pt>
                <c:pt idx="3994">
                  <c:v>37.450000000000003</c:v>
                </c:pt>
                <c:pt idx="3995">
                  <c:v>47.97</c:v>
                </c:pt>
                <c:pt idx="3996">
                  <c:v>38.5</c:v>
                </c:pt>
                <c:pt idx="3997">
                  <c:v>28.110000000000021</c:v>
                </c:pt>
                <c:pt idx="3998">
                  <c:v>28.02</c:v>
                </c:pt>
                <c:pt idx="3999">
                  <c:v>30.74</c:v>
                </c:pt>
                <c:pt idx="4000">
                  <c:v>49.61</c:v>
                </c:pt>
                <c:pt idx="4001">
                  <c:v>37.980000000000004</c:v>
                </c:pt>
                <c:pt idx="4002">
                  <c:v>38.28</c:v>
                </c:pt>
                <c:pt idx="4003">
                  <c:v>45.94</c:v>
                </c:pt>
                <c:pt idx="4004">
                  <c:v>44.760000000000012</c:v>
                </c:pt>
                <c:pt idx="4005">
                  <c:v>25.55</c:v>
                </c:pt>
                <c:pt idx="4006">
                  <c:v>48</c:v>
                </c:pt>
                <c:pt idx="4007">
                  <c:v>12.91</c:v>
                </c:pt>
                <c:pt idx="4008">
                  <c:v>15.55</c:v>
                </c:pt>
                <c:pt idx="4009">
                  <c:v>25.51</c:v>
                </c:pt>
                <c:pt idx="4010">
                  <c:v>21.9</c:v>
                </c:pt>
                <c:pt idx="4011">
                  <c:v>29.45</c:v>
                </c:pt>
                <c:pt idx="4012">
                  <c:v>41.52</c:v>
                </c:pt>
                <c:pt idx="4013">
                  <c:v>21.75</c:v>
                </c:pt>
                <c:pt idx="4014">
                  <c:v>29.330000000000005</c:v>
                </c:pt>
                <c:pt idx="4015">
                  <c:v>44.91</c:v>
                </c:pt>
                <c:pt idx="4016">
                  <c:v>53.74</c:v>
                </c:pt>
                <c:pt idx="4017">
                  <c:v>36.800000000000004</c:v>
                </c:pt>
                <c:pt idx="4018">
                  <c:v>46.98</c:v>
                </c:pt>
                <c:pt idx="4019">
                  <c:v>32.950000000000003</c:v>
                </c:pt>
                <c:pt idx="4020">
                  <c:v>25.91</c:v>
                </c:pt>
                <c:pt idx="4021">
                  <c:v>28.279999999999987</c:v>
                </c:pt>
                <c:pt idx="4022">
                  <c:v>40.130000000000003</c:v>
                </c:pt>
                <c:pt idx="4023">
                  <c:v>29.99</c:v>
                </c:pt>
                <c:pt idx="4024">
                  <c:v>27.99</c:v>
                </c:pt>
                <c:pt idx="4025">
                  <c:v>43.91</c:v>
                </c:pt>
                <c:pt idx="4026">
                  <c:v>24.14</c:v>
                </c:pt>
                <c:pt idx="4027">
                  <c:v>32.36</c:v>
                </c:pt>
                <c:pt idx="4028">
                  <c:v>20.05</c:v>
                </c:pt>
                <c:pt idx="4029">
                  <c:v>44.71</c:v>
                </c:pt>
                <c:pt idx="4030">
                  <c:v>30.41</c:v>
                </c:pt>
                <c:pt idx="4031">
                  <c:v>51.3</c:v>
                </c:pt>
                <c:pt idx="4032">
                  <c:v>48.02</c:v>
                </c:pt>
                <c:pt idx="4033">
                  <c:v>40.9</c:v>
                </c:pt>
                <c:pt idx="4034">
                  <c:v>33.220000000000013</c:v>
                </c:pt>
                <c:pt idx="4035">
                  <c:v>40.01</c:v>
                </c:pt>
                <c:pt idx="4036">
                  <c:v>40.800000000000004</c:v>
                </c:pt>
                <c:pt idx="4037">
                  <c:v>44.97</c:v>
                </c:pt>
                <c:pt idx="4038">
                  <c:v>45.94</c:v>
                </c:pt>
                <c:pt idx="4039">
                  <c:v>27.16</c:v>
                </c:pt>
                <c:pt idx="4040">
                  <c:v>32.83</c:v>
                </c:pt>
                <c:pt idx="4041">
                  <c:v>45.28</c:v>
                </c:pt>
                <c:pt idx="4042">
                  <c:v>50</c:v>
                </c:pt>
                <c:pt idx="4043">
                  <c:v>42</c:v>
                </c:pt>
                <c:pt idx="4044">
                  <c:v>36.81</c:v>
                </c:pt>
                <c:pt idx="4045">
                  <c:v>22.74</c:v>
                </c:pt>
                <c:pt idx="4046">
                  <c:v>52.32</c:v>
                </c:pt>
                <c:pt idx="4047">
                  <c:v>26.45</c:v>
                </c:pt>
                <c:pt idx="4048">
                  <c:v>45.1</c:v>
                </c:pt>
                <c:pt idx="4049">
                  <c:v>32.520000000000003</c:v>
                </c:pt>
                <c:pt idx="4050">
                  <c:v>45.97</c:v>
                </c:pt>
                <c:pt idx="4051">
                  <c:v>49.97</c:v>
                </c:pt>
                <c:pt idx="4052">
                  <c:v>24.73</c:v>
                </c:pt>
                <c:pt idx="4053">
                  <c:v>47.31</c:v>
                </c:pt>
                <c:pt idx="4054">
                  <c:v>50.41</c:v>
                </c:pt>
                <c:pt idx="4055">
                  <c:v>35.04</c:v>
                </c:pt>
                <c:pt idx="4056">
                  <c:v>38.93</c:v>
                </c:pt>
                <c:pt idx="4057">
                  <c:v>30.04</c:v>
                </c:pt>
                <c:pt idx="4058">
                  <c:v>42.61</c:v>
                </c:pt>
                <c:pt idx="4059">
                  <c:v>45.160000000000011</c:v>
                </c:pt>
                <c:pt idx="4060">
                  <c:v>29.939999999999987</c:v>
                </c:pt>
                <c:pt idx="4061">
                  <c:v>47.92</c:v>
                </c:pt>
                <c:pt idx="4062">
                  <c:v>40.01</c:v>
                </c:pt>
                <c:pt idx="4063">
                  <c:v>30.09</c:v>
                </c:pt>
                <c:pt idx="4064">
                  <c:v>34.980000000000004</c:v>
                </c:pt>
                <c:pt idx="4065">
                  <c:v>12.88</c:v>
                </c:pt>
                <c:pt idx="4066">
                  <c:v>26.759999999999987</c:v>
                </c:pt>
                <c:pt idx="4067">
                  <c:v>27.330000000000005</c:v>
                </c:pt>
                <c:pt idx="4068">
                  <c:v>46.54</c:v>
                </c:pt>
                <c:pt idx="4069">
                  <c:v>42.1</c:v>
                </c:pt>
                <c:pt idx="4070">
                  <c:v>32.75</c:v>
                </c:pt>
                <c:pt idx="4071">
                  <c:v>24</c:v>
                </c:pt>
                <c:pt idx="4072">
                  <c:v>44.02</c:v>
                </c:pt>
                <c:pt idx="4073">
                  <c:v>33.220000000000013</c:v>
                </c:pt>
                <c:pt idx="4074">
                  <c:v>34.090000000000003</c:v>
                </c:pt>
                <c:pt idx="4075">
                  <c:v>50.98</c:v>
                </c:pt>
                <c:pt idx="4076">
                  <c:v>24.919999999999987</c:v>
                </c:pt>
                <c:pt idx="4077">
                  <c:v>38.44</c:v>
                </c:pt>
                <c:pt idx="4078">
                  <c:v>29.34</c:v>
                </c:pt>
                <c:pt idx="4079">
                  <c:v>51.5</c:v>
                </c:pt>
                <c:pt idx="4080">
                  <c:v>25.25</c:v>
                </c:pt>
                <c:pt idx="4081">
                  <c:v>41.91</c:v>
                </c:pt>
                <c:pt idx="4082">
                  <c:v>22.95</c:v>
                </c:pt>
                <c:pt idx="4083">
                  <c:v>24.24</c:v>
                </c:pt>
                <c:pt idx="4084">
                  <c:v>49.58</c:v>
                </c:pt>
                <c:pt idx="4085">
                  <c:v>22.71</c:v>
                </c:pt>
                <c:pt idx="4086">
                  <c:v>30.03</c:v>
                </c:pt>
                <c:pt idx="4087">
                  <c:v>45.58</c:v>
                </c:pt>
                <c:pt idx="4088">
                  <c:v>23.59</c:v>
                </c:pt>
                <c:pt idx="4089">
                  <c:v>26.66</c:v>
                </c:pt>
                <c:pt idx="4090">
                  <c:v>24.459999999999987</c:v>
                </c:pt>
                <c:pt idx="4091">
                  <c:v>31.939999999999987</c:v>
                </c:pt>
                <c:pt idx="4092">
                  <c:v>26.47</c:v>
                </c:pt>
                <c:pt idx="4093">
                  <c:v>20.09</c:v>
                </c:pt>
                <c:pt idx="4094">
                  <c:v>35.31</c:v>
                </c:pt>
                <c:pt idx="4095">
                  <c:v>46.91</c:v>
                </c:pt>
                <c:pt idx="4096">
                  <c:v>57.65</c:v>
                </c:pt>
                <c:pt idx="4097">
                  <c:v>32.03</c:v>
                </c:pt>
                <c:pt idx="4098">
                  <c:v>42</c:v>
                </c:pt>
                <c:pt idx="4099">
                  <c:v>38.980000000000004</c:v>
                </c:pt>
                <c:pt idx="4100">
                  <c:v>38.620000000000012</c:v>
                </c:pt>
                <c:pt idx="4101">
                  <c:v>38.9</c:v>
                </c:pt>
                <c:pt idx="4102">
                  <c:v>39.93</c:v>
                </c:pt>
                <c:pt idx="4103">
                  <c:v>37.39</c:v>
                </c:pt>
                <c:pt idx="4104">
                  <c:v>22.91</c:v>
                </c:pt>
                <c:pt idx="4105">
                  <c:v>36.89</c:v>
                </c:pt>
                <c:pt idx="4106">
                  <c:v>29.9</c:v>
                </c:pt>
                <c:pt idx="4107">
                  <c:v>26.939999999999987</c:v>
                </c:pt>
                <c:pt idx="4108">
                  <c:v>46.99</c:v>
                </c:pt>
                <c:pt idx="4109">
                  <c:v>29.22</c:v>
                </c:pt>
                <c:pt idx="4110">
                  <c:v>29.09</c:v>
                </c:pt>
                <c:pt idx="4111">
                  <c:v>29.759999999999987</c:v>
                </c:pt>
                <c:pt idx="4112">
                  <c:v>39.980000000000004</c:v>
                </c:pt>
                <c:pt idx="4113">
                  <c:v>26.19</c:v>
                </c:pt>
                <c:pt idx="4114">
                  <c:v>25.25</c:v>
                </c:pt>
                <c:pt idx="4115">
                  <c:v>37.910000000000004</c:v>
                </c:pt>
                <c:pt idx="4116">
                  <c:v>30.259999999999987</c:v>
                </c:pt>
                <c:pt idx="4117">
                  <c:v>32.67</c:v>
                </c:pt>
                <c:pt idx="4118">
                  <c:v>36.800000000000004</c:v>
                </c:pt>
                <c:pt idx="4119">
                  <c:v>24.64</c:v>
                </c:pt>
                <c:pt idx="4120">
                  <c:v>31.459999999999987</c:v>
                </c:pt>
                <c:pt idx="4121">
                  <c:v>17.059999999999999</c:v>
                </c:pt>
                <c:pt idx="4122">
                  <c:v>26.06</c:v>
                </c:pt>
                <c:pt idx="4123">
                  <c:v>34.68</c:v>
                </c:pt>
                <c:pt idx="4124">
                  <c:v>26.49</c:v>
                </c:pt>
                <c:pt idx="4125">
                  <c:v>45.95</c:v>
                </c:pt>
                <c:pt idx="4126">
                  <c:v>32.75</c:v>
                </c:pt>
                <c:pt idx="4127">
                  <c:v>27.66</c:v>
                </c:pt>
                <c:pt idx="4128">
                  <c:v>29.88</c:v>
                </c:pt>
                <c:pt idx="4129">
                  <c:v>38.520000000000003</c:v>
                </c:pt>
                <c:pt idx="4130">
                  <c:v>26.66</c:v>
                </c:pt>
                <c:pt idx="4131">
                  <c:v>25.99</c:v>
                </c:pt>
                <c:pt idx="4132">
                  <c:v>33.92</c:v>
                </c:pt>
                <c:pt idx="4133">
                  <c:v>31.27</c:v>
                </c:pt>
                <c:pt idx="4134">
                  <c:v>32.44</c:v>
                </c:pt>
                <c:pt idx="4135">
                  <c:v>23.63000000000002</c:v>
                </c:pt>
                <c:pt idx="4136">
                  <c:v>24.39</c:v>
                </c:pt>
                <c:pt idx="4137">
                  <c:v>39.700000000000003</c:v>
                </c:pt>
                <c:pt idx="4138">
                  <c:v>15.77</c:v>
                </c:pt>
                <c:pt idx="4139">
                  <c:v>20.03</c:v>
                </c:pt>
                <c:pt idx="4140">
                  <c:v>23.91</c:v>
                </c:pt>
                <c:pt idx="4141">
                  <c:v>29.06</c:v>
                </c:pt>
                <c:pt idx="4142">
                  <c:v>45.02</c:v>
                </c:pt>
                <c:pt idx="4143">
                  <c:v>34.56</c:v>
                </c:pt>
                <c:pt idx="4144">
                  <c:v>22.58</c:v>
                </c:pt>
                <c:pt idx="4145">
                  <c:v>29.959999999999987</c:v>
                </c:pt>
                <c:pt idx="4146">
                  <c:v>40.28</c:v>
                </c:pt>
                <c:pt idx="4147">
                  <c:v>27.110000000000021</c:v>
                </c:pt>
                <c:pt idx="4148">
                  <c:v>46.95</c:v>
                </c:pt>
                <c:pt idx="4149">
                  <c:v>29.93</c:v>
                </c:pt>
                <c:pt idx="4150">
                  <c:v>42.260000000000012</c:v>
                </c:pt>
                <c:pt idx="4151">
                  <c:v>36.290000000000013</c:v>
                </c:pt>
                <c:pt idx="4152">
                  <c:v>34.410000000000004</c:v>
                </c:pt>
                <c:pt idx="4153">
                  <c:v>25.02</c:v>
                </c:pt>
                <c:pt idx="4154">
                  <c:v>28.21</c:v>
                </c:pt>
                <c:pt idx="4155">
                  <c:v>24.62</c:v>
                </c:pt>
                <c:pt idx="4156">
                  <c:v>28.06</c:v>
                </c:pt>
                <c:pt idx="4157">
                  <c:v>37.67</c:v>
                </c:pt>
                <c:pt idx="4158">
                  <c:v>37.4</c:v>
                </c:pt>
                <c:pt idx="4159">
                  <c:v>44.620000000000012</c:v>
                </c:pt>
                <c:pt idx="4160">
                  <c:v>31.1</c:v>
                </c:pt>
                <c:pt idx="4161">
                  <c:v>44.49</c:v>
                </c:pt>
                <c:pt idx="4162">
                  <c:v>26.919999999999987</c:v>
                </c:pt>
                <c:pt idx="4163">
                  <c:v>37.97</c:v>
                </c:pt>
                <c:pt idx="4164">
                  <c:v>40.840000000000003</c:v>
                </c:pt>
                <c:pt idx="4165">
                  <c:v>28.49</c:v>
                </c:pt>
                <c:pt idx="4166">
                  <c:v>31.32</c:v>
                </c:pt>
                <c:pt idx="4167">
                  <c:v>36.290000000000013</c:v>
                </c:pt>
                <c:pt idx="4168">
                  <c:v>34.020000000000003</c:v>
                </c:pt>
                <c:pt idx="4169">
                  <c:v>27.05</c:v>
                </c:pt>
                <c:pt idx="4170">
                  <c:v>33.910000000000004</c:v>
                </c:pt>
                <c:pt idx="4171">
                  <c:v>27.07</c:v>
                </c:pt>
                <c:pt idx="4172">
                  <c:v>42.2</c:v>
                </c:pt>
                <c:pt idx="4173">
                  <c:v>15.72</c:v>
                </c:pt>
                <c:pt idx="4174">
                  <c:v>27.15000000000002</c:v>
                </c:pt>
                <c:pt idx="4175">
                  <c:v>26.19</c:v>
                </c:pt>
                <c:pt idx="4176">
                  <c:v>27.19</c:v>
                </c:pt>
                <c:pt idx="4177">
                  <c:v>46.4</c:v>
                </c:pt>
                <c:pt idx="4178">
                  <c:v>30.65000000000002</c:v>
                </c:pt>
                <c:pt idx="4179">
                  <c:v>30.87</c:v>
                </c:pt>
                <c:pt idx="4180">
                  <c:v>44.1</c:v>
                </c:pt>
                <c:pt idx="4181">
                  <c:v>34.47</c:v>
                </c:pt>
                <c:pt idx="4182">
                  <c:v>17.939999999999987</c:v>
                </c:pt>
                <c:pt idx="4183">
                  <c:v>28.71</c:v>
                </c:pt>
                <c:pt idx="4184">
                  <c:v>13.08</c:v>
                </c:pt>
                <c:pt idx="4185">
                  <c:v>32</c:v>
                </c:pt>
                <c:pt idx="4186">
                  <c:v>25.27</c:v>
                </c:pt>
                <c:pt idx="4187">
                  <c:v>36.25</c:v>
                </c:pt>
                <c:pt idx="4188">
                  <c:v>44.01</c:v>
                </c:pt>
                <c:pt idx="4189">
                  <c:v>48.93</c:v>
                </c:pt>
                <c:pt idx="4190">
                  <c:v>27.05</c:v>
                </c:pt>
                <c:pt idx="4191">
                  <c:v>27.23</c:v>
                </c:pt>
                <c:pt idx="4192">
                  <c:v>39.44</c:v>
                </c:pt>
                <c:pt idx="4193">
                  <c:v>18.2</c:v>
                </c:pt>
                <c:pt idx="4194">
                  <c:v>28.74</c:v>
                </c:pt>
                <c:pt idx="4195">
                  <c:v>42.1</c:v>
                </c:pt>
                <c:pt idx="4196">
                  <c:v>46.9</c:v>
                </c:pt>
                <c:pt idx="4197">
                  <c:v>14.86000000000001</c:v>
                </c:pt>
                <c:pt idx="4198">
                  <c:v>31.93</c:v>
                </c:pt>
                <c:pt idx="4199">
                  <c:v>44.9</c:v>
                </c:pt>
                <c:pt idx="4200">
                  <c:v>36.36</c:v>
                </c:pt>
                <c:pt idx="4201">
                  <c:v>22.68</c:v>
                </c:pt>
                <c:pt idx="4202">
                  <c:v>28.87</c:v>
                </c:pt>
                <c:pt idx="4203">
                  <c:v>55.160000000000011</c:v>
                </c:pt>
                <c:pt idx="4204">
                  <c:v>43.48</c:v>
                </c:pt>
                <c:pt idx="4205">
                  <c:v>27.330000000000005</c:v>
                </c:pt>
                <c:pt idx="4206">
                  <c:v>20.350000000000001</c:v>
                </c:pt>
                <c:pt idx="4207">
                  <c:v>42.58</c:v>
                </c:pt>
                <c:pt idx="4208">
                  <c:v>42.4</c:v>
                </c:pt>
                <c:pt idx="4209">
                  <c:v>21.979999999999986</c:v>
                </c:pt>
                <c:pt idx="4210">
                  <c:v>32.5</c:v>
                </c:pt>
                <c:pt idx="4211">
                  <c:v>48.64</c:v>
                </c:pt>
                <c:pt idx="4212">
                  <c:v>31.34</c:v>
                </c:pt>
                <c:pt idx="4213">
                  <c:v>49.85</c:v>
                </c:pt>
                <c:pt idx="4214">
                  <c:v>30.99</c:v>
                </c:pt>
                <c:pt idx="4215">
                  <c:v>34.56</c:v>
                </c:pt>
                <c:pt idx="4216">
                  <c:v>33.230000000000011</c:v>
                </c:pt>
                <c:pt idx="4217">
                  <c:v>47.230000000000011</c:v>
                </c:pt>
                <c:pt idx="4218">
                  <c:v>27.81000000000002</c:v>
                </c:pt>
                <c:pt idx="4219">
                  <c:v>30.23</c:v>
                </c:pt>
                <c:pt idx="4220">
                  <c:v>36.94</c:v>
                </c:pt>
                <c:pt idx="4221">
                  <c:v>27.69</c:v>
                </c:pt>
                <c:pt idx="4222">
                  <c:v>38.51</c:v>
                </c:pt>
                <c:pt idx="4223">
                  <c:v>46.94</c:v>
                </c:pt>
                <c:pt idx="4224">
                  <c:v>26.110000000000021</c:v>
                </c:pt>
                <c:pt idx="4225">
                  <c:v>32</c:v>
                </c:pt>
                <c:pt idx="4226">
                  <c:v>23</c:v>
                </c:pt>
                <c:pt idx="4227">
                  <c:v>40.230000000000011</c:v>
                </c:pt>
                <c:pt idx="4228">
                  <c:v>27.66</c:v>
                </c:pt>
                <c:pt idx="4229">
                  <c:v>36.97</c:v>
                </c:pt>
                <c:pt idx="4230">
                  <c:v>26.69</c:v>
                </c:pt>
                <c:pt idx="4231">
                  <c:v>27.64</c:v>
                </c:pt>
                <c:pt idx="4232">
                  <c:v>29.05</c:v>
                </c:pt>
                <c:pt idx="4233">
                  <c:v>45.74</c:v>
                </c:pt>
                <c:pt idx="4234">
                  <c:v>46.04</c:v>
                </c:pt>
                <c:pt idx="4235">
                  <c:v>27.3</c:v>
                </c:pt>
                <c:pt idx="4236">
                  <c:v>31.6</c:v>
                </c:pt>
                <c:pt idx="4237">
                  <c:v>28.22</c:v>
                </c:pt>
                <c:pt idx="4238">
                  <c:v>27.09</c:v>
                </c:pt>
                <c:pt idx="4239">
                  <c:v>27.47</c:v>
                </c:pt>
                <c:pt idx="4240">
                  <c:v>29.56</c:v>
                </c:pt>
                <c:pt idx="4241">
                  <c:v>26</c:v>
                </c:pt>
                <c:pt idx="4242">
                  <c:v>27.02</c:v>
                </c:pt>
                <c:pt idx="4243">
                  <c:v>20.079999999999988</c:v>
                </c:pt>
                <c:pt idx="4244">
                  <c:v>24.62</c:v>
                </c:pt>
                <c:pt idx="4245">
                  <c:v>33.46</c:v>
                </c:pt>
                <c:pt idx="4246">
                  <c:v>40.790000000000013</c:v>
                </c:pt>
                <c:pt idx="4247">
                  <c:v>49.93</c:v>
                </c:pt>
                <c:pt idx="4248">
                  <c:v>11.12</c:v>
                </c:pt>
                <c:pt idx="4249">
                  <c:v>51.9</c:v>
                </c:pt>
                <c:pt idx="4250">
                  <c:v>19.82</c:v>
                </c:pt>
                <c:pt idx="4251">
                  <c:v>31.24</c:v>
                </c:pt>
                <c:pt idx="4252">
                  <c:v>26.939999999999987</c:v>
                </c:pt>
                <c:pt idx="4253">
                  <c:v>29.27</c:v>
                </c:pt>
                <c:pt idx="4254">
                  <c:v>41.02</c:v>
                </c:pt>
                <c:pt idx="4255">
                  <c:v>43.99</c:v>
                </c:pt>
                <c:pt idx="4256">
                  <c:v>26.21</c:v>
                </c:pt>
                <c:pt idx="4257">
                  <c:v>39</c:v>
                </c:pt>
                <c:pt idx="4258">
                  <c:v>24.29</c:v>
                </c:pt>
                <c:pt idx="4259">
                  <c:v>19.079999999999988</c:v>
                </c:pt>
                <c:pt idx="4260">
                  <c:v>28.03</c:v>
                </c:pt>
                <c:pt idx="4261">
                  <c:v>27.31000000000002</c:v>
                </c:pt>
                <c:pt idx="4262">
                  <c:v>28.38</c:v>
                </c:pt>
                <c:pt idx="4263">
                  <c:v>45.93</c:v>
                </c:pt>
                <c:pt idx="4264">
                  <c:v>26.5</c:v>
                </c:pt>
                <c:pt idx="4265">
                  <c:v>28.71</c:v>
                </c:pt>
                <c:pt idx="4266">
                  <c:v>30.9</c:v>
                </c:pt>
                <c:pt idx="4267">
                  <c:v>44.2</c:v>
                </c:pt>
                <c:pt idx="4268">
                  <c:v>35.74</c:v>
                </c:pt>
                <c:pt idx="4269">
                  <c:v>29.66</c:v>
                </c:pt>
                <c:pt idx="4270">
                  <c:v>48.53</c:v>
                </c:pt>
                <c:pt idx="4271">
                  <c:v>41.660000000000011</c:v>
                </c:pt>
                <c:pt idx="4272">
                  <c:v>24.57</c:v>
                </c:pt>
                <c:pt idx="4273">
                  <c:v>46</c:v>
                </c:pt>
                <c:pt idx="4274">
                  <c:v>46.44</c:v>
                </c:pt>
                <c:pt idx="4275">
                  <c:v>38.130000000000003</c:v>
                </c:pt>
                <c:pt idx="4276">
                  <c:v>29.459999999999987</c:v>
                </c:pt>
                <c:pt idx="4277">
                  <c:v>21.86</c:v>
                </c:pt>
                <c:pt idx="4278">
                  <c:v>43.36</c:v>
                </c:pt>
                <c:pt idx="4279">
                  <c:v>24.939999999999987</c:v>
                </c:pt>
                <c:pt idx="4280">
                  <c:v>28.88</c:v>
                </c:pt>
                <c:pt idx="4281">
                  <c:v>33.720000000000013</c:v>
                </c:pt>
                <c:pt idx="4282">
                  <c:v>26.06</c:v>
                </c:pt>
                <c:pt idx="4283">
                  <c:v>33.36</c:v>
                </c:pt>
                <c:pt idx="4284">
                  <c:v>29.47</c:v>
                </c:pt>
                <c:pt idx="4285">
                  <c:v>27.95</c:v>
                </c:pt>
                <c:pt idx="4286">
                  <c:v>25.97</c:v>
                </c:pt>
                <c:pt idx="4287">
                  <c:v>28.69</c:v>
                </c:pt>
                <c:pt idx="4288">
                  <c:v>31.7</c:v>
                </c:pt>
                <c:pt idx="4289">
                  <c:v>36.020000000000003</c:v>
                </c:pt>
                <c:pt idx="4290">
                  <c:v>52.04</c:v>
                </c:pt>
                <c:pt idx="4291">
                  <c:v>49.15</c:v>
                </c:pt>
                <c:pt idx="4292">
                  <c:v>46</c:v>
                </c:pt>
                <c:pt idx="4293">
                  <c:v>41.94</c:v>
                </c:pt>
                <c:pt idx="4294">
                  <c:v>28.65000000000002</c:v>
                </c:pt>
                <c:pt idx="4295">
                  <c:v>28.830000000000005</c:v>
                </c:pt>
                <c:pt idx="4296">
                  <c:v>39.96</c:v>
                </c:pt>
                <c:pt idx="4297">
                  <c:v>51.42</c:v>
                </c:pt>
                <c:pt idx="4298">
                  <c:v>42.44</c:v>
                </c:pt>
                <c:pt idx="4299">
                  <c:v>32.760000000000012</c:v>
                </c:pt>
                <c:pt idx="4300">
                  <c:v>37.880000000000003</c:v>
                </c:pt>
                <c:pt idx="4301">
                  <c:v>33.160000000000011</c:v>
                </c:pt>
                <c:pt idx="4302">
                  <c:v>46.67</c:v>
                </c:pt>
                <c:pt idx="4303">
                  <c:v>50.39</c:v>
                </c:pt>
                <c:pt idx="4304">
                  <c:v>29.939999999999987</c:v>
                </c:pt>
                <c:pt idx="4305">
                  <c:v>37.92</c:v>
                </c:pt>
                <c:pt idx="4306">
                  <c:v>43.07</c:v>
                </c:pt>
                <c:pt idx="4307">
                  <c:v>40.32</c:v>
                </c:pt>
                <c:pt idx="4308">
                  <c:v>24.88</c:v>
                </c:pt>
                <c:pt idx="4309">
                  <c:v>38.18</c:v>
                </c:pt>
                <c:pt idx="4310">
                  <c:v>69.739999999999995</c:v>
                </c:pt>
                <c:pt idx="4311">
                  <c:v>34.660000000000011</c:v>
                </c:pt>
                <c:pt idx="4312">
                  <c:v>39.07</c:v>
                </c:pt>
                <c:pt idx="4313">
                  <c:v>25.959999999999987</c:v>
                </c:pt>
                <c:pt idx="4314">
                  <c:v>36.42</c:v>
                </c:pt>
                <c:pt idx="4315">
                  <c:v>29.64</c:v>
                </c:pt>
                <c:pt idx="4316">
                  <c:v>42.44</c:v>
                </c:pt>
                <c:pt idx="4317">
                  <c:v>28.08</c:v>
                </c:pt>
                <c:pt idx="4318">
                  <c:v>21.259999999999987</c:v>
                </c:pt>
                <c:pt idx="4319">
                  <c:v>44.93</c:v>
                </c:pt>
                <c:pt idx="4320">
                  <c:v>28.279999999999987</c:v>
                </c:pt>
                <c:pt idx="4321">
                  <c:v>17.21</c:v>
                </c:pt>
                <c:pt idx="4322">
                  <c:v>46.720000000000013</c:v>
                </c:pt>
                <c:pt idx="4323">
                  <c:v>37.340000000000003</c:v>
                </c:pt>
                <c:pt idx="4324">
                  <c:v>37.99</c:v>
                </c:pt>
                <c:pt idx="4325">
                  <c:v>44.71</c:v>
                </c:pt>
                <c:pt idx="4326">
                  <c:v>18.59</c:v>
                </c:pt>
                <c:pt idx="4327">
                  <c:v>38.97</c:v>
                </c:pt>
                <c:pt idx="4328">
                  <c:v>26.99</c:v>
                </c:pt>
                <c:pt idx="4329">
                  <c:v>39.86</c:v>
                </c:pt>
                <c:pt idx="4330">
                  <c:v>44.97</c:v>
                </c:pt>
                <c:pt idx="4331">
                  <c:v>44.41</c:v>
                </c:pt>
                <c:pt idx="4332">
                  <c:v>42.97</c:v>
                </c:pt>
                <c:pt idx="4333">
                  <c:v>45.93</c:v>
                </c:pt>
                <c:pt idx="4334">
                  <c:v>37.94</c:v>
                </c:pt>
                <c:pt idx="4335">
                  <c:v>42.71</c:v>
                </c:pt>
                <c:pt idx="4336">
                  <c:v>43.98</c:v>
                </c:pt>
                <c:pt idx="4337">
                  <c:v>41.54</c:v>
                </c:pt>
                <c:pt idx="4338">
                  <c:v>1.1900000000000013</c:v>
                </c:pt>
                <c:pt idx="4339">
                  <c:v>43.97</c:v>
                </c:pt>
                <c:pt idx="4340">
                  <c:v>26.6</c:v>
                </c:pt>
                <c:pt idx="4341">
                  <c:v>28.41</c:v>
                </c:pt>
                <c:pt idx="4342">
                  <c:v>28.81000000000002</c:v>
                </c:pt>
                <c:pt idx="4343">
                  <c:v>29.17</c:v>
                </c:pt>
                <c:pt idx="4344">
                  <c:v>25</c:v>
                </c:pt>
                <c:pt idx="4345">
                  <c:v>34.290000000000013</c:v>
                </c:pt>
                <c:pt idx="4346">
                  <c:v>46.31</c:v>
                </c:pt>
                <c:pt idx="4347">
                  <c:v>39.21</c:v>
                </c:pt>
                <c:pt idx="4348">
                  <c:v>47.09</c:v>
                </c:pt>
                <c:pt idx="4349">
                  <c:v>37.28</c:v>
                </c:pt>
                <c:pt idx="4350">
                  <c:v>37.08</c:v>
                </c:pt>
                <c:pt idx="4351">
                  <c:v>18.350000000000001</c:v>
                </c:pt>
                <c:pt idx="4352">
                  <c:v>42.93</c:v>
                </c:pt>
                <c:pt idx="4353">
                  <c:v>29.53</c:v>
                </c:pt>
                <c:pt idx="4354">
                  <c:v>34.99</c:v>
                </c:pt>
                <c:pt idx="4355">
                  <c:v>15.53</c:v>
                </c:pt>
                <c:pt idx="4356">
                  <c:v>37.260000000000012</c:v>
                </c:pt>
                <c:pt idx="4357">
                  <c:v>18.41</c:v>
                </c:pt>
                <c:pt idx="4358">
                  <c:v>60.63</c:v>
                </c:pt>
                <c:pt idx="4359">
                  <c:v>28.75</c:v>
                </c:pt>
                <c:pt idx="4360">
                  <c:v>43.94</c:v>
                </c:pt>
                <c:pt idx="4361">
                  <c:v>33.9</c:v>
                </c:pt>
                <c:pt idx="4362">
                  <c:v>42.03</c:v>
                </c:pt>
                <c:pt idx="4363">
                  <c:v>50.96</c:v>
                </c:pt>
                <c:pt idx="4364">
                  <c:v>29.72</c:v>
                </c:pt>
                <c:pt idx="4365">
                  <c:v>43.07</c:v>
                </c:pt>
                <c:pt idx="4366">
                  <c:v>27.04</c:v>
                </c:pt>
                <c:pt idx="4367">
                  <c:v>39.96</c:v>
                </c:pt>
                <c:pt idx="4368">
                  <c:v>28.99</c:v>
                </c:pt>
                <c:pt idx="4369">
                  <c:v>63.83</c:v>
                </c:pt>
                <c:pt idx="4370">
                  <c:v>34.47</c:v>
                </c:pt>
                <c:pt idx="4371">
                  <c:v>22.35</c:v>
                </c:pt>
                <c:pt idx="4372">
                  <c:v>19.59</c:v>
                </c:pt>
                <c:pt idx="4373">
                  <c:v>42.01</c:v>
                </c:pt>
                <c:pt idx="4374">
                  <c:v>28.13000000000002</c:v>
                </c:pt>
                <c:pt idx="4375">
                  <c:v>52.620000000000012</c:v>
                </c:pt>
                <c:pt idx="4376">
                  <c:v>47.98</c:v>
                </c:pt>
                <c:pt idx="4377">
                  <c:v>48.08</c:v>
                </c:pt>
                <c:pt idx="4378">
                  <c:v>27.79</c:v>
                </c:pt>
                <c:pt idx="4379">
                  <c:v>27.12</c:v>
                </c:pt>
                <c:pt idx="4380">
                  <c:v>16.88</c:v>
                </c:pt>
                <c:pt idx="4381">
                  <c:v>25.95</c:v>
                </c:pt>
                <c:pt idx="4382">
                  <c:v>38.92</c:v>
                </c:pt>
                <c:pt idx="4383">
                  <c:v>28.51</c:v>
                </c:pt>
                <c:pt idx="4384">
                  <c:v>26.86</c:v>
                </c:pt>
                <c:pt idx="4385">
                  <c:v>54.58</c:v>
                </c:pt>
                <c:pt idx="4386">
                  <c:v>25.439999999999987</c:v>
                </c:pt>
                <c:pt idx="4387">
                  <c:v>32.340000000000003</c:v>
                </c:pt>
                <c:pt idx="4388">
                  <c:v>18.59</c:v>
                </c:pt>
                <c:pt idx="4389">
                  <c:v>19.38</c:v>
                </c:pt>
                <c:pt idx="4390">
                  <c:v>37.86</c:v>
                </c:pt>
                <c:pt idx="4391">
                  <c:v>24.479999999999986</c:v>
                </c:pt>
                <c:pt idx="4392">
                  <c:v>34.94</c:v>
                </c:pt>
                <c:pt idx="4393">
                  <c:v>48.34</c:v>
                </c:pt>
                <c:pt idx="4394">
                  <c:v>32.050000000000004</c:v>
                </c:pt>
                <c:pt idx="4395">
                  <c:v>38.450000000000003</c:v>
                </c:pt>
                <c:pt idx="4396">
                  <c:v>27.919999999999987</c:v>
                </c:pt>
                <c:pt idx="4397">
                  <c:v>41.39</c:v>
                </c:pt>
                <c:pt idx="4398">
                  <c:v>18.87</c:v>
                </c:pt>
                <c:pt idx="4399">
                  <c:v>26.45</c:v>
                </c:pt>
                <c:pt idx="4400">
                  <c:v>26.97</c:v>
                </c:pt>
                <c:pt idx="4401">
                  <c:v>26.05</c:v>
                </c:pt>
                <c:pt idx="4402">
                  <c:v>38.24</c:v>
                </c:pt>
                <c:pt idx="4403">
                  <c:v>27</c:v>
                </c:pt>
                <c:pt idx="4404">
                  <c:v>44.04</c:v>
                </c:pt>
                <c:pt idx="4405">
                  <c:v>36.550000000000004</c:v>
                </c:pt>
                <c:pt idx="4406">
                  <c:v>41.98</c:v>
                </c:pt>
                <c:pt idx="4407">
                  <c:v>28.919999999999987</c:v>
                </c:pt>
                <c:pt idx="4408">
                  <c:v>41.91</c:v>
                </c:pt>
                <c:pt idx="4409">
                  <c:v>24.72</c:v>
                </c:pt>
                <c:pt idx="4410">
                  <c:v>39.65</c:v>
                </c:pt>
                <c:pt idx="4411">
                  <c:v>37.06</c:v>
                </c:pt>
                <c:pt idx="4412">
                  <c:v>32.050000000000004</c:v>
                </c:pt>
                <c:pt idx="4413">
                  <c:v>13.38</c:v>
                </c:pt>
                <c:pt idx="4414">
                  <c:v>15.31</c:v>
                </c:pt>
                <c:pt idx="4415">
                  <c:v>25.84</c:v>
                </c:pt>
                <c:pt idx="4416">
                  <c:v>34.950000000000003</c:v>
                </c:pt>
                <c:pt idx="4417">
                  <c:v>28.25</c:v>
                </c:pt>
                <c:pt idx="4418">
                  <c:v>38.31</c:v>
                </c:pt>
                <c:pt idx="4419">
                  <c:v>25.5</c:v>
                </c:pt>
                <c:pt idx="4420">
                  <c:v>32.980000000000004</c:v>
                </c:pt>
                <c:pt idx="4421">
                  <c:v>19.05</c:v>
                </c:pt>
                <c:pt idx="4422">
                  <c:v>37.1</c:v>
                </c:pt>
                <c:pt idx="4423">
                  <c:v>43.120000000000012</c:v>
                </c:pt>
                <c:pt idx="4424">
                  <c:v>39.9</c:v>
                </c:pt>
                <c:pt idx="4425">
                  <c:v>29.73</c:v>
                </c:pt>
                <c:pt idx="4426">
                  <c:v>44.98</c:v>
                </c:pt>
                <c:pt idx="4427">
                  <c:v>36.71</c:v>
                </c:pt>
                <c:pt idx="4428">
                  <c:v>30.05</c:v>
                </c:pt>
                <c:pt idx="4429">
                  <c:v>25.93</c:v>
                </c:pt>
                <c:pt idx="4430">
                  <c:v>29.91</c:v>
                </c:pt>
                <c:pt idx="4431">
                  <c:v>38.5</c:v>
                </c:pt>
                <c:pt idx="4432">
                  <c:v>31</c:v>
                </c:pt>
                <c:pt idx="4433">
                  <c:v>48.190000000000012</c:v>
                </c:pt>
                <c:pt idx="4434">
                  <c:v>29.04</c:v>
                </c:pt>
                <c:pt idx="4435">
                  <c:v>37.980000000000004</c:v>
                </c:pt>
                <c:pt idx="4436">
                  <c:v>34.050000000000004</c:v>
                </c:pt>
                <c:pt idx="4437">
                  <c:v>37.21</c:v>
                </c:pt>
                <c:pt idx="4438">
                  <c:v>42.28</c:v>
                </c:pt>
                <c:pt idx="4439">
                  <c:v>29.3</c:v>
                </c:pt>
                <c:pt idx="4440">
                  <c:v>26.979999999999986</c:v>
                </c:pt>
                <c:pt idx="4441">
                  <c:v>28.84</c:v>
                </c:pt>
                <c:pt idx="4442">
                  <c:v>49.220000000000013</c:v>
                </c:pt>
                <c:pt idx="4443">
                  <c:v>25.73</c:v>
                </c:pt>
                <c:pt idx="4444">
                  <c:v>39.01</c:v>
                </c:pt>
                <c:pt idx="4445">
                  <c:v>33.01</c:v>
                </c:pt>
                <c:pt idx="4446">
                  <c:v>28.08</c:v>
                </c:pt>
                <c:pt idx="4447">
                  <c:v>29.37</c:v>
                </c:pt>
                <c:pt idx="4448">
                  <c:v>40.64</c:v>
                </c:pt>
                <c:pt idx="4449">
                  <c:v>28.23</c:v>
                </c:pt>
                <c:pt idx="4450">
                  <c:v>14.09</c:v>
                </c:pt>
                <c:pt idx="4451">
                  <c:v>34.120000000000012</c:v>
                </c:pt>
                <c:pt idx="4452">
                  <c:v>38.57</c:v>
                </c:pt>
                <c:pt idx="4453">
                  <c:v>30.24</c:v>
                </c:pt>
                <c:pt idx="4454">
                  <c:v>22.3</c:v>
                </c:pt>
                <c:pt idx="4455">
                  <c:v>35.910000000000004</c:v>
                </c:pt>
                <c:pt idx="4456">
                  <c:v>27.84</c:v>
                </c:pt>
                <c:pt idx="4457">
                  <c:v>31.08</c:v>
                </c:pt>
                <c:pt idx="4458">
                  <c:v>26.79</c:v>
                </c:pt>
                <c:pt idx="4459">
                  <c:v>28.22</c:v>
                </c:pt>
                <c:pt idx="4460">
                  <c:v>41.09</c:v>
                </c:pt>
                <c:pt idx="4461">
                  <c:v>16.809999999999999</c:v>
                </c:pt>
                <c:pt idx="4462">
                  <c:v>34.910000000000004</c:v>
                </c:pt>
                <c:pt idx="4463">
                  <c:v>36.730000000000011</c:v>
                </c:pt>
                <c:pt idx="4464">
                  <c:v>35.82</c:v>
                </c:pt>
                <c:pt idx="4465">
                  <c:v>38.68</c:v>
                </c:pt>
                <c:pt idx="4466">
                  <c:v>30.62</c:v>
                </c:pt>
                <c:pt idx="4467">
                  <c:v>24.72</c:v>
                </c:pt>
                <c:pt idx="4468">
                  <c:v>40.92</c:v>
                </c:pt>
                <c:pt idx="4469">
                  <c:v>28.37</c:v>
                </c:pt>
                <c:pt idx="4470">
                  <c:v>31.29</c:v>
                </c:pt>
                <c:pt idx="4471">
                  <c:v>29.419999999999987</c:v>
                </c:pt>
                <c:pt idx="4472">
                  <c:v>44.92</c:v>
                </c:pt>
                <c:pt idx="4473">
                  <c:v>38.700000000000003</c:v>
                </c:pt>
                <c:pt idx="4474">
                  <c:v>28.05</c:v>
                </c:pt>
                <c:pt idx="4475">
                  <c:v>35.54</c:v>
                </c:pt>
                <c:pt idx="4476">
                  <c:v>65.179999999999978</c:v>
                </c:pt>
                <c:pt idx="4477">
                  <c:v>32.53</c:v>
                </c:pt>
                <c:pt idx="4478">
                  <c:v>36.46</c:v>
                </c:pt>
                <c:pt idx="4479">
                  <c:v>40.06</c:v>
                </c:pt>
                <c:pt idx="4480">
                  <c:v>34.480000000000004</c:v>
                </c:pt>
                <c:pt idx="4481">
                  <c:v>49.08</c:v>
                </c:pt>
                <c:pt idx="4482">
                  <c:v>13.34</c:v>
                </c:pt>
                <c:pt idx="4483">
                  <c:v>35.050000000000004</c:v>
                </c:pt>
                <c:pt idx="4484">
                  <c:v>34.050000000000004</c:v>
                </c:pt>
                <c:pt idx="4485">
                  <c:v>29.95</c:v>
                </c:pt>
                <c:pt idx="4486">
                  <c:v>23.86</c:v>
                </c:pt>
                <c:pt idx="4487">
                  <c:v>39.160000000000011</c:v>
                </c:pt>
                <c:pt idx="4488">
                  <c:v>35.96</c:v>
                </c:pt>
                <c:pt idx="4489">
                  <c:v>31.06</c:v>
                </c:pt>
                <c:pt idx="4490">
                  <c:v>15.58</c:v>
                </c:pt>
                <c:pt idx="4491">
                  <c:v>42.95</c:v>
                </c:pt>
                <c:pt idx="4492">
                  <c:v>25.13000000000002</c:v>
                </c:pt>
                <c:pt idx="4493">
                  <c:v>70.819999999999993</c:v>
                </c:pt>
                <c:pt idx="4494">
                  <c:v>20.04</c:v>
                </c:pt>
                <c:pt idx="4495">
                  <c:v>17.939999999999987</c:v>
                </c:pt>
                <c:pt idx="4496">
                  <c:v>37.520000000000003</c:v>
                </c:pt>
                <c:pt idx="4497">
                  <c:v>27.72</c:v>
                </c:pt>
                <c:pt idx="4498">
                  <c:v>4.37</c:v>
                </c:pt>
                <c:pt idx="4499">
                  <c:v>33.07</c:v>
                </c:pt>
                <c:pt idx="4500">
                  <c:v>27.04</c:v>
                </c:pt>
                <c:pt idx="4501">
                  <c:v>38</c:v>
                </c:pt>
                <c:pt idx="4502">
                  <c:v>47.06</c:v>
                </c:pt>
                <c:pt idx="4503">
                  <c:v>19.079999999999988</c:v>
                </c:pt>
                <c:pt idx="4504">
                  <c:v>24.77</c:v>
                </c:pt>
                <c:pt idx="4505">
                  <c:v>31.39</c:v>
                </c:pt>
                <c:pt idx="4506">
                  <c:v>24.959999999999987</c:v>
                </c:pt>
                <c:pt idx="4507">
                  <c:v>30.439999999999987</c:v>
                </c:pt>
                <c:pt idx="4508">
                  <c:v>37.64</c:v>
                </c:pt>
                <c:pt idx="4509">
                  <c:v>47.93</c:v>
                </c:pt>
                <c:pt idx="4510">
                  <c:v>33.08</c:v>
                </c:pt>
                <c:pt idx="4511">
                  <c:v>33.71</c:v>
                </c:pt>
                <c:pt idx="4512">
                  <c:v>28.05</c:v>
                </c:pt>
                <c:pt idx="4513">
                  <c:v>29.18</c:v>
                </c:pt>
                <c:pt idx="4514">
                  <c:v>44.27</c:v>
                </c:pt>
                <c:pt idx="4515">
                  <c:v>30.939999999999987</c:v>
                </c:pt>
                <c:pt idx="4516">
                  <c:v>22.439999999999987</c:v>
                </c:pt>
                <c:pt idx="4517">
                  <c:v>31.67</c:v>
                </c:pt>
                <c:pt idx="4518">
                  <c:v>26.59</c:v>
                </c:pt>
                <c:pt idx="4519">
                  <c:v>24.95</c:v>
                </c:pt>
                <c:pt idx="4520">
                  <c:v>49.9</c:v>
                </c:pt>
                <c:pt idx="4521">
                  <c:v>58.05</c:v>
                </c:pt>
                <c:pt idx="4522">
                  <c:v>32.56</c:v>
                </c:pt>
                <c:pt idx="4523">
                  <c:v>31.84</c:v>
                </c:pt>
                <c:pt idx="4524">
                  <c:v>37.81</c:v>
                </c:pt>
                <c:pt idx="4525">
                  <c:v>26.419999999999987</c:v>
                </c:pt>
                <c:pt idx="4526">
                  <c:v>42.05</c:v>
                </c:pt>
                <c:pt idx="4527">
                  <c:v>34.200000000000003</c:v>
                </c:pt>
                <c:pt idx="4528">
                  <c:v>30.99</c:v>
                </c:pt>
                <c:pt idx="4529">
                  <c:v>29.02</c:v>
                </c:pt>
                <c:pt idx="4530">
                  <c:v>32.99</c:v>
                </c:pt>
                <c:pt idx="4531">
                  <c:v>29.52</c:v>
                </c:pt>
                <c:pt idx="4532">
                  <c:v>10.24</c:v>
                </c:pt>
                <c:pt idx="4533">
                  <c:v>28.36</c:v>
                </c:pt>
                <c:pt idx="4534">
                  <c:v>46.42</c:v>
                </c:pt>
                <c:pt idx="4535">
                  <c:v>36.92</c:v>
                </c:pt>
                <c:pt idx="4536">
                  <c:v>26.02</c:v>
                </c:pt>
                <c:pt idx="4537">
                  <c:v>30.21</c:v>
                </c:pt>
                <c:pt idx="4538">
                  <c:v>28.02</c:v>
                </c:pt>
                <c:pt idx="4539">
                  <c:v>41.94</c:v>
                </c:pt>
                <c:pt idx="4540">
                  <c:v>37.96</c:v>
                </c:pt>
                <c:pt idx="4541">
                  <c:v>29.110000000000021</c:v>
                </c:pt>
                <c:pt idx="4542">
                  <c:v>50.190000000000012</c:v>
                </c:pt>
                <c:pt idx="4543">
                  <c:v>31.91</c:v>
                </c:pt>
                <c:pt idx="4544">
                  <c:v>31.77</c:v>
                </c:pt>
                <c:pt idx="4545">
                  <c:v>27.99</c:v>
                </c:pt>
                <c:pt idx="4546">
                  <c:v>39.93</c:v>
                </c:pt>
                <c:pt idx="4547">
                  <c:v>28.21</c:v>
                </c:pt>
                <c:pt idx="4548">
                  <c:v>28.63000000000002</c:v>
                </c:pt>
                <c:pt idx="4549">
                  <c:v>34.94</c:v>
                </c:pt>
                <c:pt idx="4550">
                  <c:v>30.86</c:v>
                </c:pt>
                <c:pt idx="4551">
                  <c:v>25.68</c:v>
                </c:pt>
                <c:pt idx="4552">
                  <c:v>25.439999999999987</c:v>
                </c:pt>
                <c:pt idx="4553">
                  <c:v>50.63</c:v>
                </c:pt>
                <c:pt idx="4554">
                  <c:v>34.97</c:v>
                </c:pt>
                <c:pt idx="4555">
                  <c:v>27.95</c:v>
                </c:pt>
                <c:pt idx="4556">
                  <c:v>30.23</c:v>
                </c:pt>
                <c:pt idx="4557">
                  <c:v>42</c:v>
                </c:pt>
                <c:pt idx="4558">
                  <c:v>43.1</c:v>
                </c:pt>
                <c:pt idx="4559">
                  <c:v>44.98</c:v>
                </c:pt>
                <c:pt idx="4560">
                  <c:v>32.08</c:v>
                </c:pt>
                <c:pt idx="4561">
                  <c:v>16.23</c:v>
                </c:pt>
                <c:pt idx="4562">
                  <c:v>25.64</c:v>
                </c:pt>
                <c:pt idx="4563">
                  <c:v>33.82</c:v>
                </c:pt>
                <c:pt idx="4564">
                  <c:v>31.23</c:v>
                </c:pt>
                <c:pt idx="4565">
                  <c:v>26.959999999999987</c:v>
                </c:pt>
                <c:pt idx="4566">
                  <c:v>48.190000000000012</c:v>
                </c:pt>
                <c:pt idx="4567">
                  <c:v>15</c:v>
                </c:pt>
                <c:pt idx="4568">
                  <c:v>58</c:v>
                </c:pt>
                <c:pt idx="4569">
                  <c:v>31.32</c:v>
                </c:pt>
                <c:pt idx="4570">
                  <c:v>36.94</c:v>
                </c:pt>
                <c:pt idx="4571">
                  <c:v>16.02</c:v>
                </c:pt>
                <c:pt idx="4572">
                  <c:v>27.7</c:v>
                </c:pt>
                <c:pt idx="4573">
                  <c:v>43.02</c:v>
                </c:pt>
                <c:pt idx="4574">
                  <c:v>16.22</c:v>
                </c:pt>
                <c:pt idx="4575">
                  <c:v>36.58</c:v>
                </c:pt>
                <c:pt idx="4576">
                  <c:v>33.950000000000003</c:v>
                </c:pt>
                <c:pt idx="4577">
                  <c:v>29.37</c:v>
                </c:pt>
                <c:pt idx="4578">
                  <c:v>38.950000000000003</c:v>
                </c:pt>
                <c:pt idx="4579">
                  <c:v>45.99</c:v>
                </c:pt>
                <c:pt idx="4580">
                  <c:v>24.979999999999986</c:v>
                </c:pt>
                <c:pt idx="4581">
                  <c:v>25.459999999999987</c:v>
                </c:pt>
                <c:pt idx="4582">
                  <c:v>39.260000000000012</c:v>
                </c:pt>
                <c:pt idx="4583">
                  <c:v>19.079999999999988</c:v>
                </c:pt>
                <c:pt idx="4584">
                  <c:v>38.03</c:v>
                </c:pt>
                <c:pt idx="4585">
                  <c:v>17.05</c:v>
                </c:pt>
                <c:pt idx="4586">
                  <c:v>24.64</c:v>
                </c:pt>
                <c:pt idx="4587">
                  <c:v>49.61</c:v>
                </c:pt>
                <c:pt idx="4588">
                  <c:v>27.07</c:v>
                </c:pt>
                <c:pt idx="4589">
                  <c:v>37.6</c:v>
                </c:pt>
                <c:pt idx="4590">
                  <c:v>19.420000000000002</c:v>
                </c:pt>
                <c:pt idx="4591">
                  <c:v>45</c:v>
                </c:pt>
                <c:pt idx="4592">
                  <c:v>25.279999999999987</c:v>
                </c:pt>
                <c:pt idx="4593">
                  <c:v>41.83</c:v>
                </c:pt>
                <c:pt idx="4594">
                  <c:v>30.9</c:v>
                </c:pt>
                <c:pt idx="4595">
                  <c:v>47</c:v>
                </c:pt>
                <c:pt idx="4596">
                  <c:v>18.939999999999987</c:v>
                </c:pt>
                <c:pt idx="4597">
                  <c:v>16.95</c:v>
                </c:pt>
                <c:pt idx="4598">
                  <c:v>27.97</c:v>
                </c:pt>
                <c:pt idx="4599">
                  <c:v>34.130000000000003</c:v>
                </c:pt>
                <c:pt idx="4600">
                  <c:v>49.97</c:v>
                </c:pt>
                <c:pt idx="4601">
                  <c:v>27.51</c:v>
                </c:pt>
                <c:pt idx="4602">
                  <c:v>42.71</c:v>
                </c:pt>
                <c:pt idx="4603">
                  <c:v>25.01</c:v>
                </c:pt>
                <c:pt idx="4604">
                  <c:v>25.830000000000005</c:v>
                </c:pt>
                <c:pt idx="4605">
                  <c:v>32.410000000000004</c:v>
                </c:pt>
                <c:pt idx="4606">
                  <c:v>28.05</c:v>
                </c:pt>
                <c:pt idx="4607">
                  <c:v>33.5</c:v>
                </c:pt>
                <c:pt idx="4608">
                  <c:v>43.52</c:v>
                </c:pt>
                <c:pt idx="4609">
                  <c:v>33.910000000000004</c:v>
                </c:pt>
                <c:pt idx="4610">
                  <c:v>38.03</c:v>
                </c:pt>
                <c:pt idx="4611">
                  <c:v>25.610000000000021</c:v>
                </c:pt>
                <c:pt idx="4612">
                  <c:v>51.98</c:v>
                </c:pt>
                <c:pt idx="4613">
                  <c:v>37.950000000000003</c:v>
                </c:pt>
                <c:pt idx="4614">
                  <c:v>42.98</c:v>
                </c:pt>
                <c:pt idx="4615">
                  <c:v>28.34</c:v>
                </c:pt>
                <c:pt idx="4616">
                  <c:v>29.5</c:v>
                </c:pt>
                <c:pt idx="4617">
                  <c:v>24.56</c:v>
                </c:pt>
                <c:pt idx="4618">
                  <c:v>51.7</c:v>
                </c:pt>
                <c:pt idx="4619">
                  <c:v>24.979999999999986</c:v>
                </c:pt>
                <c:pt idx="4620">
                  <c:v>24.330000000000005</c:v>
                </c:pt>
                <c:pt idx="4621">
                  <c:v>28.45</c:v>
                </c:pt>
                <c:pt idx="4622">
                  <c:v>30.979999999999986</c:v>
                </c:pt>
                <c:pt idx="4623">
                  <c:v>57.07</c:v>
                </c:pt>
                <c:pt idx="4624">
                  <c:v>30.81000000000002</c:v>
                </c:pt>
                <c:pt idx="4625">
                  <c:v>16.09</c:v>
                </c:pt>
                <c:pt idx="4626">
                  <c:v>41.96</c:v>
                </c:pt>
                <c:pt idx="4627">
                  <c:v>41.13</c:v>
                </c:pt>
                <c:pt idx="4628">
                  <c:v>39.51</c:v>
                </c:pt>
                <c:pt idx="4629">
                  <c:v>31.959999999999987</c:v>
                </c:pt>
                <c:pt idx="4630">
                  <c:v>36.85</c:v>
                </c:pt>
                <c:pt idx="4631">
                  <c:v>32.760000000000012</c:v>
                </c:pt>
                <c:pt idx="4632">
                  <c:v>25.05</c:v>
                </c:pt>
                <c:pt idx="4633">
                  <c:v>43.05</c:v>
                </c:pt>
                <c:pt idx="4634">
                  <c:v>46.93</c:v>
                </c:pt>
                <c:pt idx="4635">
                  <c:v>43.54</c:v>
                </c:pt>
                <c:pt idx="4636">
                  <c:v>49.9</c:v>
                </c:pt>
                <c:pt idx="4637">
                  <c:v>40.54</c:v>
                </c:pt>
                <c:pt idx="4638">
                  <c:v>32.9</c:v>
                </c:pt>
                <c:pt idx="4639">
                  <c:v>66.39</c:v>
                </c:pt>
                <c:pt idx="4640">
                  <c:v>33.980000000000004</c:v>
                </c:pt>
                <c:pt idx="4641">
                  <c:v>30.979999999999986</c:v>
                </c:pt>
                <c:pt idx="4642">
                  <c:v>33.99</c:v>
                </c:pt>
                <c:pt idx="4643">
                  <c:v>28.47</c:v>
                </c:pt>
                <c:pt idx="4644">
                  <c:v>34.92</c:v>
                </c:pt>
                <c:pt idx="4645">
                  <c:v>18.100000000000001</c:v>
                </c:pt>
                <c:pt idx="4646">
                  <c:v>30.03</c:v>
                </c:pt>
                <c:pt idx="4647">
                  <c:v>29.29</c:v>
                </c:pt>
                <c:pt idx="4648">
                  <c:v>32.42</c:v>
                </c:pt>
                <c:pt idx="4649">
                  <c:v>47.67</c:v>
                </c:pt>
                <c:pt idx="4650">
                  <c:v>41.56</c:v>
                </c:pt>
                <c:pt idx="4651">
                  <c:v>22.2</c:v>
                </c:pt>
                <c:pt idx="4652">
                  <c:v>42.98</c:v>
                </c:pt>
                <c:pt idx="4653">
                  <c:v>56.6</c:v>
                </c:pt>
                <c:pt idx="4654">
                  <c:v>24.87</c:v>
                </c:pt>
                <c:pt idx="4655">
                  <c:v>41.63</c:v>
                </c:pt>
                <c:pt idx="4656">
                  <c:v>16.939999999999987</c:v>
                </c:pt>
                <c:pt idx="4657">
                  <c:v>21.53</c:v>
                </c:pt>
                <c:pt idx="4658">
                  <c:v>30.13000000000002</c:v>
                </c:pt>
                <c:pt idx="4659">
                  <c:v>30.01</c:v>
                </c:pt>
                <c:pt idx="4660">
                  <c:v>30.8</c:v>
                </c:pt>
                <c:pt idx="4661">
                  <c:v>17.34</c:v>
                </c:pt>
                <c:pt idx="4662">
                  <c:v>26.08</c:v>
                </c:pt>
                <c:pt idx="4663">
                  <c:v>50.05</c:v>
                </c:pt>
                <c:pt idx="4664">
                  <c:v>35.790000000000013</c:v>
                </c:pt>
                <c:pt idx="4665">
                  <c:v>38.25</c:v>
                </c:pt>
                <c:pt idx="4666">
                  <c:v>25.43</c:v>
                </c:pt>
                <c:pt idx="4667">
                  <c:v>28.67</c:v>
                </c:pt>
                <c:pt idx="4668">
                  <c:v>24.05</c:v>
                </c:pt>
                <c:pt idx="4669">
                  <c:v>21.99</c:v>
                </c:pt>
                <c:pt idx="4670">
                  <c:v>40.620000000000012</c:v>
                </c:pt>
                <c:pt idx="4671">
                  <c:v>37.980000000000004</c:v>
                </c:pt>
                <c:pt idx="4672">
                  <c:v>51.99</c:v>
                </c:pt>
                <c:pt idx="4673">
                  <c:v>34.590000000000003</c:v>
                </c:pt>
                <c:pt idx="4674">
                  <c:v>28.5</c:v>
                </c:pt>
                <c:pt idx="4675">
                  <c:v>40.950000000000003</c:v>
                </c:pt>
                <c:pt idx="4676">
                  <c:v>26.1</c:v>
                </c:pt>
                <c:pt idx="4677">
                  <c:v>44.760000000000012</c:v>
                </c:pt>
                <c:pt idx="4678">
                  <c:v>30.24</c:v>
                </c:pt>
                <c:pt idx="4679">
                  <c:v>49.98</c:v>
                </c:pt>
                <c:pt idx="4680">
                  <c:v>32.64</c:v>
                </c:pt>
                <c:pt idx="4681">
                  <c:v>36.64</c:v>
                </c:pt>
                <c:pt idx="4682">
                  <c:v>45.06</c:v>
                </c:pt>
                <c:pt idx="4683">
                  <c:v>15.92</c:v>
                </c:pt>
                <c:pt idx="4684">
                  <c:v>41.1</c:v>
                </c:pt>
                <c:pt idx="4685">
                  <c:v>31.479999999999986</c:v>
                </c:pt>
                <c:pt idx="4686">
                  <c:v>50.720000000000013</c:v>
                </c:pt>
                <c:pt idx="4687">
                  <c:v>17.02</c:v>
                </c:pt>
                <c:pt idx="4688">
                  <c:v>46.81</c:v>
                </c:pt>
                <c:pt idx="4689">
                  <c:v>42.93</c:v>
                </c:pt>
                <c:pt idx="4690">
                  <c:v>44.91</c:v>
                </c:pt>
                <c:pt idx="4691">
                  <c:v>26.01</c:v>
                </c:pt>
                <c:pt idx="4692">
                  <c:v>27.74</c:v>
                </c:pt>
                <c:pt idx="4693">
                  <c:v>47.96</c:v>
                </c:pt>
                <c:pt idx="4694">
                  <c:v>46.74</c:v>
                </c:pt>
                <c:pt idx="4695">
                  <c:v>29.979999999999986</c:v>
                </c:pt>
                <c:pt idx="4696">
                  <c:v>24.08</c:v>
                </c:pt>
                <c:pt idx="4697">
                  <c:v>30.88</c:v>
                </c:pt>
                <c:pt idx="4698">
                  <c:v>33.28</c:v>
                </c:pt>
                <c:pt idx="4699">
                  <c:v>37.35</c:v>
                </c:pt>
                <c:pt idx="4700">
                  <c:v>35.550000000000004</c:v>
                </c:pt>
                <c:pt idx="4701">
                  <c:v>30.29</c:v>
                </c:pt>
                <c:pt idx="4702">
                  <c:v>39.730000000000011</c:v>
                </c:pt>
                <c:pt idx="4703">
                  <c:v>30.71</c:v>
                </c:pt>
                <c:pt idx="4704">
                  <c:v>24.419999999999987</c:v>
                </c:pt>
                <c:pt idx="4705">
                  <c:v>42.7</c:v>
                </c:pt>
                <c:pt idx="4706">
                  <c:v>42.92</c:v>
                </c:pt>
                <c:pt idx="4707">
                  <c:v>37.370000000000005</c:v>
                </c:pt>
                <c:pt idx="4708">
                  <c:v>41.93</c:v>
                </c:pt>
                <c:pt idx="4709">
                  <c:v>44.39</c:v>
                </c:pt>
                <c:pt idx="4710">
                  <c:v>33.44</c:v>
                </c:pt>
                <c:pt idx="4711">
                  <c:v>47.47</c:v>
                </c:pt>
                <c:pt idx="4712">
                  <c:v>26.55</c:v>
                </c:pt>
                <c:pt idx="4713">
                  <c:v>54.95</c:v>
                </c:pt>
                <c:pt idx="4714">
                  <c:v>26.08</c:v>
                </c:pt>
                <c:pt idx="4715">
                  <c:v>43.57</c:v>
                </c:pt>
                <c:pt idx="4716">
                  <c:v>30.01</c:v>
                </c:pt>
                <c:pt idx="4717">
                  <c:v>32.660000000000011</c:v>
                </c:pt>
                <c:pt idx="4718">
                  <c:v>23.779999999999987</c:v>
                </c:pt>
                <c:pt idx="4719">
                  <c:v>40.410000000000004</c:v>
                </c:pt>
                <c:pt idx="4720">
                  <c:v>42.43</c:v>
                </c:pt>
                <c:pt idx="4721">
                  <c:v>46.290000000000013</c:v>
                </c:pt>
                <c:pt idx="4722">
                  <c:v>27.08</c:v>
                </c:pt>
                <c:pt idx="4723">
                  <c:v>39.07</c:v>
                </c:pt>
                <c:pt idx="4724">
                  <c:v>22.87</c:v>
                </c:pt>
                <c:pt idx="4725">
                  <c:v>31.4</c:v>
                </c:pt>
                <c:pt idx="4726">
                  <c:v>24.99</c:v>
                </c:pt>
                <c:pt idx="4727">
                  <c:v>27.47</c:v>
                </c:pt>
                <c:pt idx="4728">
                  <c:v>27.2</c:v>
                </c:pt>
                <c:pt idx="4729">
                  <c:v>46.87</c:v>
                </c:pt>
                <c:pt idx="4730">
                  <c:v>29.79</c:v>
                </c:pt>
                <c:pt idx="4731">
                  <c:v>43.42</c:v>
                </c:pt>
                <c:pt idx="4732">
                  <c:v>27.58</c:v>
                </c:pt>
                <c:pt idx="4733">
                  <c:v>42.04</c:v>
                </c:pt>
                <c:pt idx="4734">
                  <c:v>27.67</c:v>
                </c:pt>
                <c:pt idx="4735">
                  <c:v>49.49</c:v>
                </c:pt>
                <c:pt idx="4736">
                  <c:v>27.8</c:v>
                </c:pt>
                <c:pt idx="4737">
                  <c:v>33.910000000000004</c:v>
                </c:pt>
                <c:pt idx="4738">
                  <c:v>29.23</c:v>
                </c:pt>
                <c:pt idx="4739">
                  <c:v>28.54</c:v>
                </c:pt>
                <c:pt idx="4740">
                  <c:v>24.29</c:v>
                </c:pt>
                <c:pt idx="4741">
                  <c:v>36.090000000000003</c:v>
                </c:pt>
                <c:pt idx="4742">
                  <c:v>25.12</c:v>
                </c:pt>
                <c:pt idx="4743">
                  <c:v>39.730000000000011</c:v>
                </c:pt>
                <c:pt idx="4744">
                  <c:v>49.51</c:v>
                </c:pt>
                <c:pt idx="4745">
                  <c:v>36.630000000000003</c:v>
                </c:pt>
                <c:pt idx="4746">
                  <c:v>16.079999999999988</c:v>
                </c:pt>
                <c:pt idx="4747">
                  <c:v>30.459999999999987</c:v>
                </c:pt>
                <c:pt idx="4748">
                  <c:v>26.89</c:v>
                </c:pt>
                <c:pt idx="4749">
                  <c:v>31.97</c:v>
                </c:pt>
                <c:pt idx="4750">
                  <c:v>29.459999999999987</c:v>
                </c:pt>
                <c:pt idx="4751">
                  <c:v>27.04</c:v>
                </c:pt>
                <c:pt idx="4752">
                  <c:v>49.99</c:v>
                </c:pt>
                <c:pt idx="4753">
                  <c:v>30.610000000000021</c:v>
                </c:pt>
                <c:pt idx="4754">
                  <c:v>25.07</c:v>
                </c:pt>
                <c:pt idx="4755">
                  <c:v>17.350000000000001</c:v>
                </c:pt>
                <c:pt idx="4756">
                  <c:v>41.97</c:v>
                </c:pt>
                <c:pt idx="4757">
                  <c:v>25.75</c:v>
                </c:pt>
                <c:pt idx="4758">
                  <c:v>20.02</c:v>
                </c:pt>
                <c:pt idx="4759">
                  <c:v>25.9</c:v>
                </c:pt>
                <c:pt idx="4760">
                  <c:v>20.13000000000002</c:v>
                </c:pt>
                <c:pt idx="4761">
                  <c:v>44.92</c:v>
                </c:pt>
                <c:pt idx="4762">
                  <c:v>26.99</c:v>
                </c:pt>
                <c:pt idx="4763">
                  <c:v>32.94</c:v>
                </c:pt>
                <c:pt idx="4764">
                  <c:v>32.83</c:v>
                </c:pt>
                <c:pt idx="4765">
                  <c:v>42.92</c:v>
                </c:pt>
                <c:pt idx="4766">
                  <c:v>33.04</c:v>
                </c:pt>
                <c:pt idx="4767">
                  <c:v>39.980000000000004</c:v>
                </c:pt>
                <c:pt idx="4768">
                  <c:v>36.6</c:v>
                </c:pt>
                <c:pt idx="4769">
                  <c:v>38.81</c:v>
                </c:pt>
                <c:pt idx="4770">
                  <c:v>32.090000000000003</c:v>
                </c:pt>
                <c:pt idx="4771">
                  <c:v>32.160000000000011</c:v>
                </c:pt>
                <c:pt idx="4772">
                  <c:v>42.220000000000013</c:v>
                </c:pt>
                <c:pt idx="4773">
                  <c:v>63.06</c:v>
                </c:pt>
                <c:pt idx="4774">
                  <c:v>25.54</c:v>
                </c:pt>
                <c:pt idx="4775">
                  <c:v>38.92</c:v>
                </c:pt>
                <c:pt idx="4776">
                  <c:v>33.75</c:v>
                </c:pt>
                <c:pt idx="4777">
                  <c:v>34</c:v>
                </c:pt>
                <c:pt idx="4778">
                  <c:v>36.93</c:v>
                </c:pt>
                <c:pt idx="4779">
                  <c:v>62</c:v>
                </c:pt>
                <c:pt idx="4780">
                  <c:v>42.83</c:v>
                </c:pt>
                <c:pt idx="4781">
                  <c:v>38.28</c:v>
                </c:pt>
                <c:pt idx="4782">
                  <c:v>43.52</c:v>
                </c:pt>
                <c:pt idx="4783">
                  <c:v>50.97</c:v>
                </c:pt>
                <c:pt idx="4784">
                  <c:v>35.08</c:v>
                </c:pt>
                <c:pt idx="4785">
                  <c:v>46.18</c:v>
                </c:pt>
                <c:pt idx="4786">
                  <c:v>36.950000000000003</c:v>
                </c:pt>
                <c:pt idx="4787">
                  <c:v>33.01</c:v>
                </c:pt>
                <c:pt idx="4788">
                  <c:v>38.880000000000003</c:v>
                </c:pt>
                <c:pt idx="4789">
                  <c:v>33.230000000000011</c:v>
                </c:pt>
                <c:pt idx="4790">
                  <c:v>18.88</c:v>
                </c:pt>
                <c:pt idx="4791">
                  <c:v>36.89</c:v>
                </c:pt>
                <c:pt idx="4792">
                  <c:v>41.59</c:v>
                </c:pt>
                <c:pt idx="4793">
                  <c:v>20.010000000000005</c:v>
                </c:pt>
                <c:pt idx="4794">
                  <c:v>26.47</c:v>
                </c:pt>
                <c:pt idx="4795">
                  <c:v>39.94</c:v>
                </c:pt>
                <c:pt idx="4796">
                  <c:v>46.35</c:v>
                </c:pt>
                <c:pt idx="4797">
                  <c:v>26.21</c:v>
                </c:pt>
                <c:pt idx="4798">
                  <c:v>28.08</c:v>
                </c:pt>
                <c:pt idx="4799">
                  <c:v>36.090000000000003</c:v>
                </c:pt>
                <c:pt idx="4800">
                  <c:v>27.34</c:v>
                </c:pt>
                <c:pt idx="4801">
                  <c:v>34.870000000000005</c:v>
                </c:pt>
                <c:pt idx="4802">
                  <c:v>37.92</c:v>
                </c:pt>
                <c:pt idx="4803">
                  <c:v>47.95</c:v>
                </c:pt>
                <c:pt idx="4804">
                  <c:v>26.72</c:v>
                </c:pt>
                <c:pt idx="4805">
                  <c:v>30.04</c:v>
                </c:pt>
                <c:pt idx="4806">
                  <c:v>43.7</c:v>
                </c:pt>
                <c:pt idx="4807">
                  <c:v>24.05</c:v>
                </c:pt>
                <c:pt idx="4808">
                  <c:v>42.44</c:v>
                </c:pt>
                <c:pt idx="4809">
                  <c:v>49.190000000000012</c:v>
                </c:pt>
                <c:pt idx="4810">
                  <c:v>29.04</c:v>
                </c:pt>
                <c:pt idx="4811">
                  <c:v>39.800000000000004</c:v>
                </c:pt>
                <c:pt idx="4812">
                  <c:v>31.75</c:v>
                </c:pt>
                <c:pt idx="4813">
                  <c:v>32.11</c:v>
                </c:pt>
                <c:pt idx="4814">
                  <c:v>28.03</c:v>
                </c:pt>
                <c:pt idx="4815">
                  <c:v>32.300000000000004</c:v>
                </c:pt>
                <c:pt idx="4816">
                  <c:v>30.07</c:v>
                </c:pt>
                <c:pt idx="4817">
                  <c:v>30.21</c:v>
                </c:pt>
                <c:pt idx="4818">
                  <c:v>25.07</c:v>
                </c:pt>
                <c:pt idx="4819">
                  <c:v>30.08</c:v>
                </c:pt>
                <c:pt idx="4820">
                  <c:v>30.03</c:v>
                </c:pt>
                <c:pt idx="4821">
                  <c:v>24.439999999999987</c:v>
                </c:pt>
                <c:pt idx="4822">
                  <c:v>23.03</c:v>
                </c:pt>
                <c:pt idx="4823">
                  <c:v>27.68</c:v>
                </c:pt>
                <c:pt idx="4824">
                  <c:v>30.62</c:v>
                </c:pt>
                <c:pt idx="4825">
                  <c:v>34.520000000000003</c:v>
                </c:pt>
                <c:pt idx="4826">
                  <c:v>60.04</c:v>
                </c:pt>
                <c:pt idx="4827">
                  <c:v>25.21</c:v>
                </c:pt>
                <c:pt idx="4828">
                  <c:v>22.04</c:v>
                </c:pt>
                <c:pt idx="4829">
                  <c:v>17.34</c:v>
                </c:pt>
                <c:pt idx="4830">
                  <c:v>37.17</c:v>
                </c:pt>
                <c:pt idx="4831">
                  <c:v>26.25</c:v>
                </c:pt>
                <c:pt idx="4832">
                  <c:v>14.55</c:v>
                </c:pt>
                <c:pt idx="4833">
                  <c:v>31.830000000000005</c:v>
                </c:pt>
                <c:pt idx="4834">
                  <c:v>30.939999999999987</c:v>
                </c:pt>
                <c:pt idx="4835">
                  <c:v>55.08</c:v>
                </c:pt>
                <c:pt idx="4836">
                  <c:v>42.09</c:v>
                </c:pt>
                <c:pt idx="4837">
                  <c:v>33.410000000000004</c:v>
                </c:pt>
                <c:pt idx="4838">
                  <c:v>40.54</c:v>
                </c:pt>
                <c:pt idx="4839">
                  <c:v>28.36</c:v>
                </c:pt>
                <c:pt idx="4840">
                  <c:v>39.340000000000003</c:v>
                </c:pt>
                <c:pt idx="4841">
                  <c:v>50.94</c:v>
                </c:pt>
                <c:pt idx="4842">
                  <c:v>44.99</c:v>
                </c:pt>
                <c:pt idx="4843">
                  <c:v>39.94</c:v>
                </c:pt>
                <c:pt idx="4844">
                  <c:v>40.5</c:v>
                </c:pt>
                <c:pt idx="4845">
                  <c:v>44.94</c:v>
                </c:pt>
                <c:pt idx="4846">
                  <c:v>17.75</c:v>
                </c:pt>
                <c:pt idx="4847">
                  <c:v>27.919999999999987</c:v>
                </c:pt>
                <c:pt idx="4848">
                  <c:v>46</c:v>
                </c:pt>
                <c:pt idx="4849">
                  <c:v>39.92</c:v>
                </c:pt>
                <c:pt idx="4850">
                  <c:v>22.95</c:v>
                </c:pt>
                <c:pt idx="4851">
                  <c:v>32.730000000000011</c:v>
                </c:pt>
                <c:pt idx="4852">
                  <c:v>45</c:v>
                </c:pt>
                <c:pt idx="4853">
                  <c:v>31.7</c:v>
                </c:pt>
                <c:pt idx="4854">
                  <c:v>27.1</c:v>
                </c:pt>
                <c:pt idx="4855">
                  <c:v>32.94</c:v>
                </c:pt>
                <c:pt idx="4856">
                  <c:v>25.56</c:v>
                </c:pt>
                <c:pt idx="4857">
                  <c:v>37.81</c:v>
                </c:pt>
                <c:pt idx="4858">
                  <c:v>31.330000000000005</c:v>
                </c:pt>
                <c:pt idx="4859">
                  <c:v>26.01</c:v>
                </c:pt>
                <c:pt idx="4860">
                  <c:v>40.08</c:v>
                </c:pt>
                <c:pt idx="4861">
                  <c:v>26.95</c:v>
                </c:pt>
                <c:pt idx="4862">
                  <c:v>26.85</c:v>
                </c:pt>
                <c:pt idx="4863">
                  <c:v>38.89</c:v>
                </c:pt>
                <c:pt idx="4864">
                  <c:v>34.99</c:v>
                </c:pt>
                <c:pt idx="4865">
                  <c:v>37.700000000000003</c:v>
                </c:pt>
                <c:pt idx="4866">
                  <c:v>34.43</c:v>
                </c:pt>
                <c:pt idx="4867">
                  <c:v>40</c:v>
                </c:pt>
                <c:pt idx="4868">
                  <c:v>26.9</c:v>
                </c:pt>
                <c:pt idx="4869">
                  <c:v>29.81000000000002</c:v>
                </c:pt>
                <c:pt idx="4870">
                  <c:v>13.89</c:v>
                </c:pt>
                <c:pt idx="4871">
                  <c:v>40.370000000000005</c:v>
                </c:pt>
                <c:pt idx="4872">
                  <c:v>31.14</c:v>
                </c:pt>
                <c:pt idx="4873">
                  <c:v>44.93</c:v>
                </c:pt>
                <c:pt idx="4874">
                  <c:v>25.53</c:v>
                </c:pt>
                <c:pt idx="4875">
                  <c:v>16.959999999999987</c:v>
                </c:pt>
                <c:pt idx="4876">
                  <c:v>25.67</c:v>
                </c:pt>
                <c:pt idx="4877">
                  <c:v>30.29</c:v>
                </c:pt>
                <c:pt idx="4878">
                  <c:v>29.38</c:v>
                </c:pt>
                <c:pt idx="4879">
                  <c:v>34.1</c:v>
                </c:pt>
                <c:pt idx="4880">
                  <c:v>30.52</c:v>
                </c:pt>
                <c:pt idx="4881">
                  <c:v>22.919999999999987</c:v>
                </c:pt>
                <c:pt idx="4882">
                  <c:v>51.5</c:v>
                </c:pt>
                <c:pt idx="4883">
                  <c:v>28.29</c:v>
                </c:pt>
                <c:pt idx="4884">
                  <c:v>26.2</c:v>
                </c:pt>
                <c:pt idx="4885">
                  <c:v>22.39</c:v>
                </c:pt>
                <c:pt idx="4886">
                  <c:v>25.58</c:v>
                </c:pt>
                <c:pt idx="4887">
                  <c:v>29.279999999999987</c:v>
                </c:pt>
                <c:pt idx="4888">
                  <c:v>52.87</c:v>
                </c:pt>
                <c:pt idx="4889">
                  <c:v>23.04</c:v>
                </c:pt>
                <c:pt idx="4890">
                  <c:v>17.98999999999997</c:v>
                </c:pt>
                <c:pt idx="4891">
                  <c:v>36.410000000000004</c:v>
                </c:pt>
                <c:pt idx="4892">
                  <c:v>37.06</c:v>
                </c:pt>
                <c:pt idx="4893">
                  <c:v>34.260000000000012</c:v>
                </c:pt>
                <c:pt idx="4894">
                  <c:v>33.31</c:v>
                </c:pt>
                <c:pt idx="4895">
                  <c:v>28.19</c:v>
                </c:pt>
                <c:pt idx="4896">
                  <c:v>36.4</c:v>
                </c:pt>
                <c:pt idx="4897">
                  <c:v>41.260000000000012</c:v>
                </c:pt>
                <c:pt idx="4898">
                  <c:v>26.93</c:v>
                </c:pt>
                <c:pt idx="4899">
                  <c:v>33.090000000000003</c:v>
                </c:pt>
                <c:pt idx="4900">
                  <c:v>31.279999999999987</c:v>
                </c:pt>
                <c:pt idx="4901">
                  <c:v>25.919999999999987</c:v>
                </c:pt>
                <c:pt idx="4902">
                  <c:v>25.05</c:v>
                </c:pt>
                <c:pt idx="4903">
                  <c:v>41.690000000000012</c:v>
                </c:pt>
                <c:pt idx="4904">
                  <c:v>29.21</c:v>
                </c:pt>
                <c:pt idx="4905">
                  <c:v>26.23</c:v>
                </c:pt>
                <c:pt idx="4906">
                  <c:v>38.93</c:v>
                </c:pt>
                <c:pt idx="4907">
                  <c:v>27.37</c:v>
                </c:pt>
                <c:pt idx="4908">
                  <c:v>26.68</c:v>
                </c:pt>
                <c:pt idx="4909">
                  <c:v>38.620000000000012</c:v>
                </c:pt>
                <c:pt idx="4910">
                  <c:v>48.760000000000012</c:v>
                </c:pt>
                <c:pt idx="4911">
                  <c:v>34.75</c:v>
                </c:pt>
                <c:pt idx="4912">
                  <c:v>31.17</c:v>
                </c:pt>
                <c:pt idx="4913">
                  <c:v>51</c:v>
                </c:pt>
                <c:pt idx="4914">
                  <c:v>45.98</c:v>
                </c:pt>
                <c:pt idx="4915">
                  <c:v>37.270000000000003</c:v>
                </c:pt>
                <c:pt idx="4916">
                  <c:v>28.12</c:v>
                </c:pt>
                <c:pt idx="4917">
                  <c:v>61.21</c:v>
                </c:pt>
                <c:pt idx="4918">
                  <c:v>39.94</c:v>
                </c:pt>
                <c:pt idx="4919">
                  <c:v>31.31000000000002</c:v>
                </c:pt>
                <c:pt idx="4920">
                  <c:v>38.910000000000004</c:v>
                </c:pt>
                <c:pt idx="4921">
                  <c:v>27.24</c:v>
                </c:pt>
                <c:pt idx="4922">
                  <c:v>32.39</c:v>
                </c:pt>
                <c:pt idx="4923">
                  <c:v>23.05</c:v>
                </c:pt>
                <c:pt idx="4924">
                  <c:v>25.07</c:v>
                </c:pt>
                <c:pt idx="4925">
                  <c:v>39.24</c:v>
                </c:pt>
                <c:pt idx="4926">
                  <c:v>30.279999999999987</c:v>
                </c:pt>
                <c:pt idx="4927">
                  <c:v>24.69</c:v>
                </c:pt>
                <c:pt idx="4928">
                  <c:v>28.5</c:v>
                </c:pt>
                <c:pt idx="4929">
                  <c:v>29.51</c:v>
                </c:pt>
                <c:pt idx="4930">
                  <c:v>29.99</c:v>
                </c:pt>
                <c:pt idx="4931">
                  <c:v>34.200000000000003</c:v>
                </c:pt>
                <c:pt idx="4932">
                  <c:v>35.9</c:v>
                </c:pt>
                <c:pt idx="4933">
                  <c:v>18.89</c:v>
                </c:pt>
                <c:pt idx="4934">
                  <c:v>35.96</c:v>
                </c:pt>
                <c:pt idx="4935">
                  <c:v>42.97</c:v>
                </c:pt>
                <c:pt idx="4936">
                  <c:v>15.67</c:v>
                </c:pt>
                <c:pt idx="4937">
                  <c:v>46.94</c:v>
                </c:pt>
                <c:pt idx="4938">
                  <c:v>62</c:v>
                </c:pt>
                <c:pt idx="4939">
                  <c:v>30.01</c:v>
                </c:pt>
                <c:pt idx="4940">
                  <c:v>29.31000000000002</c:v>
                </c:pt>
                <c:pt idx="4941">
                  <c:v>16.350000000000001</c:v>
                </c:pt>
                <c:pt idx="4942">
                  <c:v>29.91</c:v>
                </c:pt>
                <c:pt idx="4943">
                  <c:v>32.230000000000011</c:v>
                </c:pt>
                <c:pt idx="4944">
                  <c:v>34.790000000000013</c:v>
                </c:pt>
                <c:pt idx="4945">
                  <c:v>21.02</c:v>
                </c:pt>
                <c:pt idx="4946">
                  <c:v>43.31</c:v>
                </c:pt>
                <c:pt idx="4947">
                  <c:v>35</c:v>
                </c:pt>
                <c:pt idx="4948">
                  <c:v>32.4</c:v>
                </c:pt>
                <c:pt idx="4949">
                  <c:v>51.83</c:v>
                </c:pt>
                <c:pt idx="4950">
                  <c:v>38.18</c:v>
                </c:pt>
                <c:pt idx="4951">
                  <c:v>35.1</c:v>
                </c:pt>
                <c:pt idx="4952">
                  <c:v>30.259999999999987</c:v>
                </c:pt>
                <c:pt idx="4953">
                  <c:v>46.61</c:v>
                </c:pt>
                <c:pt idx="4954">
                  <c:v>38.11</c:v>
                </c:pt>
                <c:pt idx="4955">
                  <c:v>29.09</c:v>
                </c:pt>
                <c:pt idx="4956">
                  <c:v>53.78</c:v>
                </c:pt>
                <c:pt idx="4957">
                  <c:v>37.42</c:v>
                </c:pt>
                <c:pt idx="4958">
                  <c:v>30.95</c:v>
                </c:pt>
                <c:pt idx="4959">
                  <c:v>25.03</c:v>
                </c:pt>
                <c:pt idx="4960">
                  <c:v>33.82</c:v>
                </c:pt>
                <c:pt idx="4961">
                  <c:v>39.9</c:v>
                </c:pt>
                <c:pt idx="4962">
                  <c:v>29.1</c:v>
                </c:pt>
                <c:pt idx="4963">
                  <c:v>50</c:v>
                </c:pt>
                <c:pt idx="4964">
                  <c:v>21</c:v>
                </c:pt>
                <c:pt idx="4965">
                  <c:v>20.09</c:v>
                </c:pt>
                <c:pt idx="4966">
                  <c:v>45.1</c:v>
                </c:pt>
                <c:pt idx="4967">
                  <c:v>33.85</c:v>
                </c:pt>
                <c:pt idx="4968">
                  <c:v>32.200000000000003</c:v>
                </c:pt>
                <c:pt idx="4969">
                  <c:v>19.73</c:v>
                </c:pt>
                <c:pt idx="4970">
                  <c:v>35.230000000000011</c:v>
                </c:pt>
                <c:pt idx="4971">
                  <c:v>31.95</c:v>
                </c:pt>
                <c:pt idx="4972">
                  <c:v>40</c:v>
                </c:pt>
                <c:pt idx="4973">
                  <c:v>57.37</c:v>
                </c:pt>
                <c:pt idx="4974">
                  <c:v>37.120000000000012</c:v>
                </c:pt>
                <c:pt idx="4975">
                  <c:v>31.9</c:v>
                </c:pt>
                <c:pt idx="4976">
                  <c:v>19.079999999999988</c:v>
                </c:pt>
                <c:pt idx="4977">
                  <c:v>37.720000000000013</c:v>
                </c:pt>
                <c:pt idx="4978">
                  <c:v>28.87</c:v>
                </c:pt>
                <c:pt idx="4979">
                  <c:v>18.959999999999987</c:v>
                </c:pt>
                <c:pt idx="4980">
                  <c:v>50.24</c:v>
                </c:pt>
                <c:pt idx="4981">
                  <c:v>37.44</c:v>
                </c:pt>
                <c:pt idx="4982">
                  <c:v>31.93</c:v>
                </c:pt>
                <c:pt idx="4983">
                  <c:v>56.77</c:v>
                </c:pt>
                <c:pt idx="4984">
                  <c:v>26.04</c:v>
                </c:pt>
                <c:pt idx="4985">
                  <c:v>33</c:v>
                </c:pt>
                <c:pt idx="4986">
                  <c:v>26.07</c:v>
                </c:pt>
                <c:pt idx="4987">
                  <c:v>46.620000000000012</c:v>
                </c:pt>
                <c:pt idx="4988">
                  <c:v>26.05</c:v>
                </c:pt>
                <c:pt idx="4989">
                  <c:v>24.97</c:v>
                </c:pt>
                <c:pt idx="4990">
                  <c:v>45.39</c:v>
                </c:pt>
                <c:pt idx="4991">
                  <c:v>31.979999999999986</c:v>
                </c:pt>
                <c:pt idx="4992">
                  <c:v>27.99</c:v>
                </c:pt>
                <c:pt idx="4993">
                  <c:v>36.67</c:v>
                </c:pt>
                <c:pt idx="4994">
                  <c:v>23.04</c:v>
                </c:pt>
                <c:pt idx="4995">
                  <c:v>30.979999999999986</c:v>
                </c:pt>
                <c:pt idx="4996">
                  <c:v>29.62</c:v>
                </c:pt>
                <c:pt idx="4997">
                  <c:v>31.35</c:v>
                </c:pt>
                <c:pt idx="4998">
                  <c:v>40.83</c:v>
                </c:pt>
                <c:pt idx="4999">
                  <c:v>50.56</c:v>
                </c:pt>
                <c:pt idx="5000">
                  <c:v>28.47</c:v>
                </c:pt>
                <c:pt idx="5001">
                  <c:v>26.06</c:v>
                </c:pt>
                <c:pt idx="5002">
                  <c:v>26.419999999999987</c:v>
                </c:pt>
                <c:pt idx="5003">
                  <c:v>24.45</c:v>
                </c:pt>
                <c:pt idx="5004">
                  <c:v>28.01</c:v>
                </c:pt>
                <c:pt idx="5005">
                  <c:v>33.94</c:v>
                </c:pt>
                <c:pt idx="5006">
                  <c:v>26.03</c:v>
                </c:pt>
                <c:pt idx="5007">
                  <c:v>47.94</c:v>
                </c:pt>
                <c:pt idx="5008">
                  <c:v>41.760000000000012</c:v>
                </c:pt>
                <c:pt idx="5009">
                  <c:v>50.51</c:v>
                </c:pt>
                <c:pt idx="5010">
                  <c:v>32</c:v>
                </c:pt>
                <c:pt idx="5011">
                  <c:v>29.7</c:v>
                </c:pt>
                <c:pt idx="5012">
                  <c:v>25.830000000000005</c:v>
                </c:pt>
                <c:pt idx="5013">
                  <c:v>34.520000000000003</c:v>
                </c:pt>
                <c:pt idx="5014">
                  <c:v>30.37</c:v>
                </c:pt>
                <c:pt idx="5015">
                  <c:v>34.5</c:v>
                </c:pt>
                <c:pt idx="5016">
                  <c:v>44.61</c:v>
                </c:pt>
                <c:pt idx="5017">
                  <c:v>39.03</c:v>
                </c:pt>
                <c:pt idx="5018">
                  <c:v>25.24</c:v>
                </c:pt>
                <c:pt idx="5019">
                  <c:v>10.24</c:v>
                </c:pt>
                <c:pt idx="5020">
                  <c:v>40.18</c:v>
                </c:pt>
                <c:pt idx="5021">
                  <c:v>29.25</c:v>
                </c:pt>
                <c:pt idx="5022">
                  <c:v>32.04</c:v>
                </c:pt>
                <c:pt idx="5023">
                  <c:v>54.8</c:v>
                </c:pt>
                <c:pt idx="5024">
                  <c:v>46</c:v>
                </c:pt>
                <c:pt idx="5025">
                  <c:v>27.04</c:v>
                </c:pt>
                <c:pt idx="5026">
                  <c:v>45.64</c:v>
                </c:pt>
                <c:pt idx="5027">
                  <c:v>45.92</c:v>
                </c:pt>
                <c:pt idx="5028">
                  <c:v>25.07</c:v>
                </c:pt>
                <c:pt idx="5029">
                  <c:v>35.97</c:v>
                </c:pt>
                <c:pt idx="5030">
                  <c:v>27.8</c:v>
                </c:pt>
                <c:pt idx="5031">
                  <c:v>23.89</c:v>
                </c:pt>
                <c:pt idx="5032">
                  <c:v>31.09</c:v>
                </c:pt>
                <c:pt idx="5033">
                  <c:v>26.75</c:v>
                </c:pt>
                <c:pt idx="5034">
                  <c:v>32.61</c:v>
                </c:pt>
                <c:pt idx="5035">
                  <c:v>32.64</c:v>
                </c:pt>
                <c:pt idx="5036">
                  <c:v>28</c:v>
                </c:pt>
                <c:pt idx="5037">
                  <c:v>47</c:v>
                </c:pt>
                <c:pt idx="5038">
                  <c:v>34.130000000000003</c:v>
                </c:pt>
                <c:pt idx="5039">
                  <c:v>28.55</c:v>
                </c:pt>
                <c:pt idx="5040">
                  <c:v>40.68</c:v>
                </c:pt>
                <c:pt idx="5041">
                  <c:v>30.09</c:v>
                </c:pt>
                <c:pt idx="5042">
                  <c:v>28.779999999999987</c:v>
                </c:pt>
                <c:pt idx="5043">
                  <c:v>29.939999999999987</c:v>
                </c:pt>
                <c:pt idx="5044">
                  <c:v>36.410000000000004</c:v>
                </c:pt>
                <c:pt idx="5045">
                  <c:v>27.07</c:v>
                </c:pt>
                <c:pt idx="5046">
                  <c:v>42.15</c:v>
                </c:pt>
                <c:pt idx="5047">
                  <c:v>27.55</c:v>
                </c:pt>
                <c:pt idx="5048">
                  <c:v>34.93</c:v>
                </c:pt>
                <c:pt idx="5049">
                  <c:v>48.99</c:v>
                </c:pt>
                <c:pt idx="5050">
                  <c:v>25.49</c:v>
                </c:pt>
                <c:pt idx="5051">
                  <c:v>33.04</c:v>
                </c:pt>
                <c:pt idx="5052">
                  <c:v>44.5</c:v>
                </c:pt>
                <c:pt idx="5053">
                  <c:v>41.98</c:v>
                </c:pt>
                <c:pt idx="5054">
                  <c:v>27.85</c:v>
                </c:pt>
                <c:pt idx="5055">
                  <c:v>28.05</c:v>
                </c:pt>
                <c:pt idx="5056">
                  <c:v>30.07</c:v>
                </c:pt>
                <c:pt idx="5057">
                  <c:v>29.89</c:v>
                </c:pt>
                <c:pt idx="5058">
                  <c:v>27.05</c:v>
                </c:pt>
                <c:pt idx="5059">
                  <c:v>30.27</c:v>
                </c:pt>
                <c:pt idx="5060">
                  <c:v>49.18</c:v>
                </c:pt>
                <c:pt idx="5061">
                  <c:v>40.050000000000004</c:v>
                </c:pt>
                <c:pt idx="5062">
                  <c:v>39.130000000000003</c:v>
                </c:pt>
                <c:pt idx="5063">
                  <c:v>44.96</c:v>
                </c:pt>
                <c:pt idx="5064">
                  <c:v>42.08</c:v>
                </c:pt>
                <c:pt idx="5065">
                  <c:v>29.09</c:v>
                </c:pt>
                <c:pt idx="5066">
                  <c:v>28.91</c:v>
                </c:pt>
                <c:pt idx="5067">
                  <c:v>29.91</c:v>
                </c:pt>
                <c:pt idx="5068">
                  <c:v>52.9</c:v>
                </c:pt>
                <c:pt idx="5069">
                  <c:v>29.91</c:v>
                </c:pt>
                <c:pt idx="5070">
                  <c:v>45.120000000000012</c:v>
                </c:pt>
                <c:pt idx="5071">
                  <c:v>45.05</c:v>
                </c:pt>
                <c:pt idx="5072">
                  <c:v>44.94</c:v>
                </c:pt>
                <c:pt idx="5073">
                  <c:v>34.94</c:v>
                </c:pt>
                <c:pt idx="5074">
                  <c:v>32.08</c:v>
                </c:pt>
                <c:pt idx="5075">
                  <c:v>38.18</c:v>
                </c:pt>
                <c:pt idx="5076">
                  <c:v>60.05</c:v>
                </c:pt>
                <c:pt idx="5077">
                  <c:v>34.1</c:v>
                </c:pt>
                <c:pt idx="5078">
                  <c:v>29.43</c:v>
                </c:pt>
                <c:pt idx="5079">
                  <c:v>50.88</c:v>
                </c:pt>
                <c:pt idx="5080">
                  <c:v>32.89</c:v>
                </c:pt>
                <c:pt idx="5081">
                  <c:v>24.05</c:v>
                </c:pt>
                <c:pt idx="5082">
                  <c:v>29.93</c:v>
                </c:pt>
                <c:pt idx="5083">
                  <c:v>36.99</c:v>
                </c:pt>
                <c:pt idx="5084">
                  <c:v>42.1</c:v>
                </c:pt>
                <c:pt idx="5085">
                  <c:v>50.58</c:v>
                </c:pt>
                <c:pt idx="5086">
                  <c:v>35.840000000000003</c:v>
                </c:pt>
                <c:pt idx="5087">
                  <c:v>62.9</c:v>
                </c:pt>
                <c:pt idx="5088">
                  <c:v>35.68</c:v>
                </c:pt>
                <c:pt idx="5089">
                  <c:v>26.779999999999987</c:v>
                </c:pt>
                <c:pt idx="5090">
                  <c:v>31.01</c:v>
                </c:pt>
                <c:pt idx="5091">
                  <c:v>26.759999999999987</c:v>
                </c:pt>
                <c:pt idx="5092">
                  <c:v>24.74</c:v>
                </c:pt>
                <c:pt idx="5093">
                  <c:v>42.43</c:v>
                </c:pt>
                <c:pt idx="5094">
                  <c:v>17.87</c:v>
                </c:pt>
                <c:pt idx="5095">
                  <c:v>48.28</c:v>
                </c:pt>
                <c:pt idx="5096">
                  <c:v>44.95</c:v>
                </c:pt>
                <c:pt idx="5097">
                  <c:v>29.02</c:v>
                </c:pt>
                <c:pt idx="5098">
                  <c:v>38.790000000000013</c:v>
                </c:pt>
                <c:pt idx="5099">
                  <c:v>35.32</c:v>
                </c:pt>
                <c:pt idx="5100">
                  <c:v>29.97</c:v>
                </c:pt>
                <c:pt idx="5101">
                  <c:v>47.11</c:v>
                </c:pt>
                <c:pt idx="5102">
                  <c:v>41.49</c:v>
                </c:pt>
                <c:pt idx="5103">
                  <c:v>26.4</c:v>
                </c:pt>
                <c:pt idx="5104">
                  <c:v>55.260000000000012</c:v>
                </c:pt>
                <c:pt idx="5105">
                  <c:v>24.87</c:v>
                </c:pt>
                <c:pt idx="5106">
                  <c:v>38.190000000000012</c:v>
                </c:pt>
                <c:pt idx="5107">
                  <c:v>20.87</c:v>
                </c:pt>
                <c:pt idx="5108">
                  <c:v>34.370000000000005</c:v>
                </c:pt>
                <c:pt idx="5109">
                  <c:v>54.56</c:v>
                </c:pt>
                <c:pt idx="5110">
                  <c:v>35.92</c:v>
                </c:pt>
                <c:pt idx="5111">
                  <c:v>26.55</c:v>
                </c:pt>
                <c:pt idx="5112">
                  <c:v>42.01</c:v>
                </c:pt>
                <c:pt idx="5113">
                  <c:v>26.95</c:v>
                </c:pt>
                <c:pt idx="5114">
                  <c:v>30.479999999999986</c:v>
                </c:pt>
                <c:pt idx="5115">
                  <c:v>37.92</c:v>
                </c:pt>
                <c:pt idx="5116">
                  <c:v>24.87</c:v>
                </c:pt>
                <c:pt idx="5117">
                  <c:v>43.63</c:v>
                </c:pt>
                <c:pt idx="5118">
                  <c:v>31.2</c:v>
                </c:pt>
                <c:pt idx="5119">
                  <c:v>39.99</c:v>
                </c:pt>
                <c:pt idx="5120">
                  <c:v>27.73</c:v>
                </c:pt>
                <c:pt idx="5121">
                  <c:v>40.86</c:v>
                </c:pt>
                <c:pt idx="5122">
                  <c:v>32.83</c:v>
                </c:pt>
                <c:pt idx="5123">
                  <c:v>42.03</c:v>
                </c:pt>
                <c:pt idx="5124">
                  <c:v>30.479999999999986</c:v>
                </c:pt>
                <c:pt idx="5125">
                  <c:v>37.89</c:v>
                </c:pt>
                <c:pt idx="5126">
                  <c:v>24.779999999999987</c:v>
                </c:pt>
                <c:pt idx="5127">
                  <c:v>37.47</c:v>
                </c:pt>
                <c:pt idx="5128">
                  <c:v>35.260000000000012</c:v>
                </c:pt>
                <c:pt idx="5129">
                  <c:v>11.76</c:v>
                </c:pt>
                <c:pt idx="5130">
                  <c:v>44.92</c:v>
                </c:pt>
                <c:pt idx="5131">
                  <c:v>17</c:v>
                </c:pt>
                <c:pt idx="5132">
                  <c:v>36.93</c:v>
                </c:pt>
                <c:pt idx="5133">
                  <c:v>17.64</c:v>
                </c:pt>
                <c:pt idx="5134">
                  <c:v>49.61</c:v>
                </c:pt>
                <c:pt idx="5135">
                  <c:v>16</c:v>
                </c:pt>
                <c:pt idx="5136">
                  <c:v>16.86</c:v>
                </c:pt>
                <c:pt idx="5137">
                  <c:v>36.14</c:v>
                </c:pt>
                <c:pt idx="5138">
                  <c:v>35.770000000000003</c:v>
                </c:pt>
                <c:pt idx="5139">
                  <c:v>63.27</c:v>
                </c:pt>
                <c:pt idx="5140">
                  <c:v>41.99</c:v>
                </c:pt>
                <c:pt idx="5141">
                  <c:v>25.32</c:v>
                </c:pt>
                <c:pt idx="5142">
                  <c:v>42.94</c:v>
                </c:pt>
                <c:pt idx="5143">
                  <c:v>41.27</c:v>
                </c:pt>
                <c:pt idx="5144">
                  <c:v>37.380000000000003</c:v>
                </c:pt>
                <c:pt idx="5145">
                  <c:v>30.4</c:v>
                </c:pt>
                <c:pt idx="5146">
                  <c:v>61.95</c:v>
                </c:pt>
                <c:pt idx="5147">
                  <c:v>38.760000000000012</c:v>
                </c:pt>
                <c:pt idx="5148">
                  <c:v>28.08</c:v>
                </c:pt>
                <c:pt idx="5149">
                  <c:v>52.18</c:v>
                </c:pt>
                <c:pt idx="5150">
                  <c:v>28.22</c:v>
                </c:pt>
                <c:pt idx="5151">
                  <c:v>28.13000000000002</c:v>
                </c:pt>
                <c:pt idx="5152">
                  <c:v>25.8</c:v>
                </c:pt>
                <c:pt idx="5153">
                  <c:v>28.03</c:v>
                </c:pt>
                <c:pt idx="5154">
                  <c:v>39.370000000000005</c:v>
                </c:pt>
                <c:pt idx="5155">
                  <c:v>32.050000000000004</c:v>
                </c:pt>
                <c:pt idx="5156">
                  <c:v>55.17</c:v>
                </c:pt>
                <c:pt idx="5157">
                  <c:v>28.77</c:v>
                </c:pt>
                <c:pt idx="5158">
                  <c:v>28.18</c:v>
                </c:pt>
                <c:pt idx="5159">
                  <c:v>45.98</c:v>
                </c:pt>
                <c:pt idx="5160">
                  <c:v>41.39</c:v>
                </c:pt>
                <c:pt idx="5161">
                  <c:v>54.09</c:v>
                </c:pt>
                <c:pt idx="5162">
                  <c:v>35.39</c:v>
                </c:pt>
                <c:pt idx="5163">
                  <c:v>31.97</c:v>
                </c:pt>
                <c:pt idx="5164">
                  <c:v>25.04</c:v>
                </c:pt>
                <c:pt idx="5165">
                  <c:v>42.11</c:v>
                </c:pt>
                <c:pt idx="5166">
                  <c:v>15.26</c:v>
                </c:pt>
                <c:pt idx="5167">
                  <c:v>31.54</c:v>
                </c:pt>
                <c:pt idx="5168">
                  <c:v>27.1</c:v>
                </c:pt>
                <c:pt idx="5169">
                  <c:v>28.87</c:v>
                </c:pt>
                <c:pt idx="5170">
                  <c:v>34.93</c:v>
                </c:pt>
                <c:pt idx="5171">
                  <c:v>29.6</c:v>
                </c:pt>
                <c:pt idx="5172">
                  <c:v>44.03</c:v>
                </c:pt>
                <c:pt idx="5173">
                  <c:v>33.620000000000012</c:v>
                </c:pt>
                <c:pt idx="5174">
                  <c:v>24.81000000000002</c:v>
                </c:pt>
                <c:pt idx="5175">
                  <c:v>29.73</c:v>
                </c:pt>
                <c:pt idx="5176">
                  <c:v>33.4</c:v>
                </c:pt>
                <c:pt idx="5177">
                  <c:v>53.1</c:v>
                </c:pt>
                <c:pt idx="5178">
                  <c:v>25.81000000000002</c:v>
                </c:pt>
                <c:pt idx="5179">
                  <c:v>27.64</c:v>
                </c:pt>
                <c:pt idx="5180">
                  <c:v>39.44</c:v>
                </c:pt>
                <c:pt idx="5181">
                  <c:v>48.190000000000012</c:v>
                </c:pt>
                <c:pt idx="5182">
                  <c:v>28.07</c:v>
                </c:pt>
                <c:pt idx="5183">
                  <c:v>25.51</c:v>
                </c:pt>
                <c:pt idx="5184">
                  <c:v>45</c:v>
                </c:pt>
                <c:pt idx="5185">
                  <c:v>36.910000000000004</c:v>
                </c:pt>
                <c:pt idx="5186">
                  <c:v>32.130000000000003</c:v>
                </c:pt>
                <c:pt idx="5187">
                  <c:v>39.14</c:v>
                </c:pt>
                <c:pt idx="5188">
                  <c:v>30.03</c:v>
                </c:pt>
                <c:pt idx="5189">
                  <c:v>40.020000000000003</c:v>
                </c:pt>
                <c:pt idx="5190">
                  <c:v>33.74</c:v>
                </c:pt>
                <c:pt idx="5191">
                  <c:v>50.38</c:v>
                </c:pt>
                <c:pt idx="5192">
                  <c:v>30.86</c:v>
                </c:pt>
                <c:pt idx="5193">
                  <c:v>49.03</c:v>
                </c:pt>
                <c:pt idx="5194">
                  <c:v>22.4</c:v>
                </c:pt>
                <c:pt idx="5195">
                  <c:v>37.25</c:v>
                </c:pt>
                <c:pt idx="5196">
                  <c:v>49.94</c:v>
                </c:pt>
                <c:pt idx="5197">
                  <c:v>31.15000000000002</c:v>
                </c:pt>
                <c:pt idx="5198">
                  <c:v>53.59</c:v>
                </c:pt>
                <c:pt idx="5199">
                  <c:v>35.96</c:v>
                </c:pt>
                <c:pt idx="5200">
                  <c:v>41.85</c:v>
                </c:pt>
                <c:pt idx="5201">
                  <c:v>50.17</c:v>
                </c:pt>
                <c:pt idx="5202">
                  <c:v>28.919999999999987</c:v>
                </c:pt>
                <c:pt idx="5203">
                  <c:v>30.09</c:v>
                </c:pt>
                <c:pt idx="5204">
                  <c:v>42.57</c:v>
                </c:pt>
                <c:pt idx="5205">
                  <c:v>43.17</c:v>
                </c:pt>
                <c:pt idx="5206">
                  <c:v>32.96</c:v>
                </c:pt>
                <c:pt idx="5207">
                  <c:v>35.04</c:v>
                </c:pt>
                <c:pt idx="5208">
                  <c:v>25.25</c:v>
                </c:pt>
                <c:pt idx="5209">
                  <c:v>30.919999999999987</c:v>
                </c:pt>
                <c:pt idx="5210">
                  <c:v>37.340000000000003</c:v>
                </c:pt>
                <c:pt idx="5211">
                  <c:v>36.94</c:v>
                </c:pt>
                <c:pt idx="5212">
                  <c:v>29.62</c:v>
                </c:pt>
                <c:pt idx="5213">
                  <c:v>43.01</c:v>
                </c:pt>
                <c:pt idx="5214">
                  <c:v>26.97</c:v>
                </c:pt>
                <c:pt idx="5215">
                  <c:v>31.959999999999987</c:v>
                </c:pt>
                <c:pt idx="5216">
                  <c:v>29.9</c:v>
                </c:pt>
                <c:pt idx="5217">
                  <c:v>28.59</c:v>
                </c:pt>
                <c:pt idx="5218">
                  <c:v>30.25</c:v>
                </c:pt>
                <c:pt idx="5219">
                  <c:v>26.610000000000021</c:v>
                </c:pt>
                <c:pt idx="5220">
                  <c:v>46.86</c:v>
                </c:pt>
                <c:pt idx="5221">
                  <c:v>39.92</c:v>
                </c:pt>
                <c:pt idx="5222">
                  <c:v>47.96</c:v>
                </c:pt>
                <c:pt idx="5223">
                  <c:v>42.5</c:v>
                </c:pt>
                <c:pt idx="5224">
                  <c:v>18.55</c:v>
                </c:pt>
                <c:pt idx="5225">
                  <c:v>35.64</c:v>
                </c:pt>
                <c:pt idx="5226">
                  <c:v>47.42</c:v>
                </c:pt>
                <c:pt idx="5227">
                  <c:v>59.61</c:v>
                </c:pt>
                <c:pt idx="5228">
                  <c:v>27.9</c:v>
                </c:pt>
                <c:pt idx="5229">
                  <c:v>33.1</c:v>
                </c:pt>
                <c:pt idx="5230">
                  <c:v>37.050000000000004</c:v>
                </c:pt>
                <c:pt idx="5231">
                  <c:v>41.2</c:v>
                </c:pt>
                <c:pt idx="5232">
                  <c:v>24.85</c:v>
                </c:pt>
                <c:pt idx="5233">
                  <c:v>46.7</c:v>
                </c:pt>
                <c:pt idx="5234">
                  <c:v>31.34</c:v>
                </c:pt>
                <c:pt idx="5235">
                  <c:v>49.98</c:v>
                </c:pt>
                <c:pt idx="5236">
                  <c:v>28.65000000000002</c:v>
                </c:pt>
                <c:pt idx="5237">
                  <c:v>48.93</c:v>
                </c:pt>
                <c:pt idx="5238">
                  <c:v>42.37</c:v>
                </c:pt>
                <c:pt idx="5239">
                  <c:v>40.82</c:v>
                </c:pt>
                <c:pt idx="5240">
                  <c:v>33.21</c:v>
                </c:pt>
                <c:pt idx="5241">
                  <c:v>29.52</c:v>
                </c:pt>
                <c:pt idx="5242">
                  <c:v>31.97</c:v>
                </c:pt>
                <c:pt idx="5243">
                  <c:v>36.99</c:v>
                </c:pt>
                <c:pt idx="5244">
                  <c:v>30.47</c:v>
                </c:pt>
                <c:pt idx="5245">
                  <c:v>30.07</c:v>
                </c:pt>
                <c:pt idx="5246">
                  <c:v>43.230000000000011</c:v>
                </c:pt>
                <c:pt idx="5247">
                  <c:v>28.79</c:v>
                </c:pt>
                <c:pt idx="5248">
                  <c:v>26.09</c:v>
                </c:pt>
                <c:pt idx="5249">
                  <c:v>41.81</c:v>
                </c:pt>
                <c:pt idx="5250">
                  <c:v>37.49</c:v>
                </c:pt>
                <c:pt idx="5251">
                  <c:v>40.480000000000004</c:v>
                </c:pt>
                <c:pt idx="5252">
                  <c:v>30.02</c:v>
                </c:pt>
                <c:pt idx="5253">
                  <c:v>52.38</c:v>
                </c:pt>
                <c:pt idx="5254">
                  <c:v>52</c:v>
                </c:pt>
                <c:pt idx="5255">
                  <c:v>27.919999999999987</c:v>
                </c:pt>
                <c:pt idx="5256">
                  <c:v>31.27</c:v>
                </c:pt>
                <c:pt idx="5257">
                  <c:v>56.7</c:v>
                </c:pt>
                <c:pt idx="5258">
                  <c:v>39.89</c:v>
                </c:pt>
                <c:pt idx="5259">
                  <c:v>27.04</c:v>
                </c:pt>
                <c:pt idx="5260">
                  <c:v>30.38</c:v>
                </c:pt>
                <c:pt idx="5261">
                  <c:v>51.95</c:v>
                </c:pt>
                <c:pt idx="5262">
                  <c:v>60.98</c:v>
                </c:pt>
                <c:pt idx="5263">
                  <c:v>33.99</c:v>
                </c:pt>
                <c:pt idx="5264">
                  <c:v>26.479999999999986</c:v>
                </c:pt>
                <c:pt idx="5265">
                  <c:v>43.24</c:v>
                </c:pt>
                <c:pt idx="5266">
                  <c:v>35.720000000000013</c:v>
                </c:pt>
                <c:pt idx="5267">
                  <c:v>32.910000000000004</c:v>
                </c:pt>
                <c:pt idx="5268">
                  <c:v>53.94</c:v>
                </c:pt>
                <c:pt idx="5269">
                  <c:v>42.04</c:v>
                </c:pt>
                <c:pt idx="5270">
                  <c:v>69.010000000000005</c:v>
                </c:pt>
                <c:pt idx="5271">
                  <c:v>55.1</c:v>
                </c:pt>
                <c:pt idx="5272">
                  <c:v>23.04</c:v>
                </c:pt>
                <c:pt idx="5273">
                  <c:v>35.71</c:v>
                </c:pt>
                <c:pt idx="5274">
                  <c:v>24.2</c:v>
                </c:pt>
                <c:pt idx="5275">
                  <c:v>40.800000000000004</c:v>
                </c:pt>
                <c:pt idx="5276">
                  <c:v>42.63</c:v>
                </c:pt>
                <c:pt idx="5277">
                  <c:v>53.99</c:v>
                </c:pt>
                <c:pt idx="5278">
                  <c:v>29.79</c:v>
                </c:pt>
                <c:pt idx="5279">
                  <c:v>40.03</c:v>
                </c:pt>
                <c:pt idx="5280">
                  <c:v>55.44</c:v>
                </c:pt>
                <c:pt idx="5281">
                  <c:v>38.64</c:v>
                </c:pt>
                <c:pt idx="5282">
                  <c:v>40.020000000000003</c:v>
                </c:pt>
                <c:pt idx="5283">
                  <c:v>44.31</c:v>
                </c:pt>
                <c:pt idx="5284">
                  <c:v>25.91</c:v>
                </c:pt>
                <c:pt idx="5285">
                  <c:v>41.95</c:v>
                </c:pt>
                <c:pt idx="5286">
                  <c:v>42.120000000000012</c:v>
                </c:pt>
                <c:pt idx="5287">
                  <c:v>16.260000000000002</c:v>
                </c:pt>
                <c:pt idx="5288">
                  <c:v>26.32</c:v>
                </c:pt>
                <c:pt idx="5289">
                  <c:v>38.950000000000003</c:v>
                </c:pt>
                <c:pt idx="5290">
                  <c:v>41.57</c:v>
                </c:pt>
                <c:pt idx="5291">
                  <c:v>29.59</c:v>
                </c:pt>
                <c:pt idx="5292">
                  <c:v>29.38</c:v>
                </c:pt>
                <c:pt idx="5293">
                  <c:v>35.050000000000004</c:v>
                </c:pt>
                <c:pt idx="5294">
                  <c:v>25.41</c:v>
                </c:pt>
                <c:pt idx="5295">
                  <c:v>29.9</c:v>
                </c:pt>
                <c:pt idx="5296">
                  <c:v>15.870000000000006</c:v>
                </c:pt>
                <c:pt idx="5297">
                  <c:v>34.51</c:v>
                </c:pt>
                <c:pt idx="5298">
                  <c:v>27.04</c:v>
                </c:pt>
                <c:pt idx="5299">
                  <c:v>30.79</c:v>
                </c:pt>
                <c:pt idx="5300">
                  <c:v>44.14</c:v>
                </c:pt>
                <c:pt idx="5301">
                  <c:v>27.38</c:v>
                </c:pt>
                <c:pt idx="5302">
                  <c:v>28.31000000000002</c:v>
                </c:pt>
                <c:pt idx="5303">
                  <c:v>34.92</c:v>
                </c:pt>
                <c:pt idx="5304">
                  <c:v>28.08</c:v>
                </c:pt>
                <c:pt idx="5305">
                  <c:v>49.07</c:v>
                </c:pt>
                <c:pt idx="5306">
                  <c:v>41.7</c:v>
                </c:pt>
                <c:pt idx="5307">
                  <c:v>22.69</c:v>
                </c:pt>
                <c:pt idx="5308">
                  <c:v>35.090000000000003</c:v>
                </c:pt>
                <c:pt idx="5309">
                  <c:v>64.099999999999994</c:v>
                </c:pt>
                <c:pt idx="5310">
                  <c:v>31.91</c:v>
                </c:pt>
                <c:pt idx="5311">
                  <c:v>28.62</c:v>
                </c:pt>
                <c:pt idx="5312">
                  <c:v>31.17</c:v>
                </c:pt>
                <c:pt idx="5313">
                  <c:v>24.03</c:v>
                </c:pt>
                <c:pt idx="5314">
                  <c:v>38.99</c:v>
                </c:pt>
                <c:pt idx="5315">
                  <c:v>29.22</c:v>
                </c:pt>
                <c:pt idx="5316">
                  <c:v>33.18</c:v>
                </c:pt>
                <c:pt idx="5317">
                  <c:v>30.91</c:v>
                </c:pt>
                <c:pt idx="5318">
                  <c:v>44.97</c:v>
                </c:pt>
                <c:pt idx="5319">
                  <c:v>33.840000000000003</c:v>
                </c:pt>
                <c:pt idx="5320">
                  <c:v>29.34</c:v>
                </c:pt>
                <c:pt idx="5321">
                  <c:v>24.88</c:v>
                </c:pt>
                <c:pt idx="5322">
                  <c:v>32.47</c:v>
                </c:pt>
                <c:pt idx="5323">
                  <c:v>29.939999999999987</c:v>
                </c:pt>
                <c:pt idx="5324">
                  <c:v>22.24</c:v>
                </c:pt>
                <c:pt idx="5325">
                  <c:v>60.43</c:v>
                </c:pt>
                <c:pt idx="5326">
                  <c:v>19.479999999999986</c:v>
                </c:pt>
                <c:pt idx="5327">
                  <c:v>26.939999999999987</c:v>
                </c:pt>
                <c:pt idx="5328">
                  <c:v>27</c:v>
                </c:pt>
                <c:pt idx="5329">
                  <c:v>30.03</c:v>
                </c:pt>
                <c:pt idx="5330">
                  <c:v>49.97</c:v>
                </c:pt>
                <c:pt idx="5331">
                  <c:v>25.04</c:v>
                </c:pt>
                <c:pt idx="5332">
                  <c:v>40.33</c:v>
                </c:pt>
                <c:pt idx="5333">
                  <c:v>30.35</c:v>
                </c:pt>
                <c:pt idx="5334">
                  <c:v>26.5</c:v>
                </c:pt>
                <c:pt idx="5335">
                  <c:v>31.610000000000021</c:v>
                </c:pt>
                <c:pt idx="5336">
                  <c:v>42.9</c:v>
                </c:pt>
                <c:pt idx="5337">
                  <c:v>44.97</c:v>
                </c:pt>
                <c:pt idx="5338">
                  <c:v>26.259999999999987</c:v>
                </c:pt>
                <c:pt idx="5339">
                  <c:v>44.3</c:v>
                </c:pt>
                <c:pt idx="5340">
                  <c:v>45.02</c:v>
                </c:pt>
                <c:pt idx="5341">
                  <c:v>24.939999999999987</c:v>
                </c:pt>
                <c:pt idx="5342">
                  <c:v>52.02</c:v>
                </c:pt>
                <c:pt idx="5343">
                  <c:v>41.91</c:v>
                </c:pt>
                <c:pt idx="5344">
                  <c:v>44</c:v>
                </c:pt>
                <c:pt idx="5345">
                  <c:v>31.43</c:v>
                </c:pt>
                <c:pt idx="5346">
                  <c:v>37.44</c:v>
                </c:pt>
                <c:pt idx="5347">
                  <c:v>36.33</c:v>
                </c:pt>
                <c:pt idx="5348">
                  <c:v>45.75</c:v>
                </c:pt>
                <c:pt idx="5349">
                  <c:v>36.86</c:v>
                </c:pt>
                <c:pt idx="5350">
                  <c:v>29.43</c:v>
                </c:pt>
                <c:pt idx="5351">
                  <c:v>37.11</c:v>
                </c:pt>
                <c:pt idx="5352">
                  <c:v>38.090000000000003</c:v>
                </c:pt>
                <c:pt idx="5353">
                  <c:v>40.81</c:v>
                </c:pt>
                <c:pt idx="5354">
                  <c:v>32.800000000000004</c:v>
                </c:pt>
                <c:pt idx="5355">
                  <c:v>28.41</c:v>
                </c:pt>
                <c:pt idx="5356">
                  <c:v>48.82</c:v>
                </c:pt>
                <c:pt idx="5357">
                  <c:v>54.06</c:v>
                </c:pt>
                <c:pt idx="5358">
                  <c:v>28.939999999999987</c:v>
                </c:pt>
                <c:pt idx="5359">
                  <c:v>30.17</c:v>
                </c:pt>
                <c:pt idx="5360">
                  <c:v>47.06</c:v>
                </c:pt>
                <c:pt idx="5361">
                  <c:v>27.8</c:v>
                </c:pt>
                <c:pt idx="5362">
                  <c:v>37.220000000000013</c:v>
                </c:pt>
                <c:pt idx="5363">
                  <c:v>25.43</c:v>
                </c:pt>
                <c:pt idx="5364">
                  <c:v>45.09</c:v>
                </c:pt>
                <c:pt idx="5365">
                  <c:v>28.09</c:v>
                </c:pt>
                <c:pt idx="5366">
                  <c:v>29.439999999999987</c:v>
                </c:pt>
                <c:pt idx="5367">
                  <c:v>29.979999999999986</c:v>
                </c:pt>
                <c:pt idx="5368">
                  <c:v>40.230000000000011</c:v>
                </c:pt>
                <c:pt idx="5369">
                  <c:v>29.97</c:v>
                </c:pt>
                <c:pt idx="5370">
                  <c:v>36.220000000000013</c:v>
                </c:pt>
                <c:pt idx="5371">
                  <c:v>45.08</c:v>
                </c:pt>
                <c:pt idx="5372">
                  <c:v>52.98</c:v>
                </c:pt>
                <c:pt idx="5373">
                  <c:v>56</c:v>
                </c:pt>
                <c:pt idx="5374">
                  <c:v>26.17</c:v>
                </c:pt>
                <c:pt idx="5375">
                  <c:v>23.97</c:v>
                </c:pt>
                <c:pt idx="5376">
                  <c:v>45.28</c:v>
                </c:pt>
                <c:pt idx="5377">
                  <c:v>28.81000000000002</c:v>
                </c:pt>
                <c:pt idx="5378">
                  <c:v>37.200000000000003</c:v>
                </c:pt>
                <c:pt idx="5379">
                  <c:v>24.08</c:v>
                </c:pt>
                <c:pt idx="5380">
                  <c:v>36.96</c:v>
                </c:pt>
                <c:pt idx="5381">
                  <c:v>26.87</c:v>
                </c:pt>
                <c:pt idx="5382">
                  <c:v>29.5</c:v>
                </c:pt>
                <c:pt idx="5383">
                  <c:v>27.06</c:v>
                </c:pt>
                <c:pt idx="5384">
                  <c:v>29.95</c:v>
                </c:pt>
                <c:pt idx="5385">
                  <c:v>38.49</c:v>
                </c:pt>
                <c:pt idx="5386">
                  <c:v>35.950000000000003</c:v>
                </c:pt>
                <c:pt idx="5387">
                  <c:v>44.43</c:v>
                </c:pt>
                <c:pt idx="5388">
                  <c:v>42.32</c:v>
                </c:pt>
                <c:pt idx="5389">
                  <c:v>41.94</c:v>
                </c:pt>
                <c:pt idx="5390">
                  <c:v>36.99</c:v>
                </c:pt>
                <c:pt idx="5391">
                  <c:v>28.72</c:v>
                </c:pt>
                <c:pt idx="5392">
                  <c:v>31.68</c:v>
                </c:pt>
                <c:pt idx="5393">
                  <c:v>45.9</c:v>
                </c:pt>
                <c:pt idx="5394">
                  <c:v>53.32</c:v>
                </c:pt>
                <c:pt idx="5395">
                  <c:v>16.3</c:v>
                </c:pt>
                <c:pt idx="5396">
                  <c:v>39.49</c:v>
                </c:pt>
                <c:pt idx="5397">
                  <c:v>47.44</c:v>
                </c:pt>
                <c:pt idx="5398">
                  <c:v>43.05</c:v>
                </c:pt>
                <c:pt idx="5399">
                  <c:v>27.58</c:v>
                </c:pt>
                <c:pt idx="5400">
                  <c:v>40.020000000000003</c:v>
                </c:pt>
                <c:pt idx="5401">
                  <c:v>27.919999999999987</c:v>
                </c:pt>
                <c:pt idx="5402">
                  <c:v>40.17</c:v>
                </c:pt>
                <c:pt idx="5403">
                  <c:v>28.23</c:v>
                </c:pt>
                <c:pt idx="5404">
                  <c:v>14.21</c:v>
                </c:pt>
                <c:pt idx="5405">
                  <c:v>30.6</c:v>
                </c:pt>
                <c:pt idx="5406">
                  <c:v>48.18</c:v>
                </c:pt>
                <c:pt idx="5407">
                  <c:v>36.86</c:v>
                </c:pt>
                <c:pt idx="5408">
                  <c:v>40.07</c:v>
                </c:pt>
                <c:pt idx="5409">
                  <c:v>27.01</c:v>
                </c:pt>
                <c:pt idx="5410">
                  <c:v>17.329999999999988</c:v>
                </c:pt>
                <c:pt idx="5411">
                  <c:v>47.99</c:v>
                </c:pt>
                <c:pt idx="5412">
                  <c:v>32.450000000000003</c:v>
                </c:pt>
                <c:pt idx="5413">
                  <c:v>33.15</c:v>
                </c:pt>
                <c:pt idx="5414">
                  <c:v>42.48</c:v>
                </c:pt>
                <c:pt idx="5415">
                  <c:v>26.36</c:v>
                </c:pt>
                <c:pt idx="5416">
                  <c:v>41.43</c:v>
                </c:pt>
                <c:pt idx="5417">
                  <c:v>39.6</c:v>
                </c:pt>
                <c:pt idx="5418">
                  <c:v>48.59</c:v>
                </c:pt>
                <c:pt idx="5419">
                  <c:v>24.939999999999987</c:v>
                </c:pt>
                <c:pt idx="5420">
                  <c:v>29.02</c:v>
                </c:pt>
                <c:pt idx="5421">
                  <c:v>44.99</c:v>
                </c:pt>
                <c:pt idx="5422">
                  <c:v>37.300000000000004</c:v>
                </c:pt>
                <c:pt idx="5423">
                  <c:v>16.66</c:v>
                </c:pt>
                <c:pt idx="5424">
                  <c:v>34.200000000000003</c:v>
                </c:pt>
                <c:pt idx="5425">
                  <c:v>31.03</c:v>
                </c:pt>
                <c:pt idx="5426">
                  <c:v>28.24</c:v>
                </c:pt>
                <c:pt idx="5427">
                  <c:v>41.620000000000012</c:v>
                </c:pt>
                <c:pt idx="5428">
                  <c:v>43.13</c:v>
                </c:pt>
                <c:pt idx="5429">
                  <c:v>23.3</c:v>
                </c:pt>
                <c:pt idx="5430">
                  <c:v>19.420000000000002</c:v>
                </c:pt>
                <c:pt idx="5431">
                  <c:v>28.06</c:v>
                </c:pt>
                <c:pt idx="5432">
                  <c:v>42.91</c:v>
                </c:pt>
                <c:pt idx="5433">
                  <c:v>50</c:v>
                </c:pt>
                <c:pt idx="5434">
                  <c:v>28.39</c:v>
                </c:pt>
                <c:pt idx="5435">
                  <c:v>36.97</c:v>
                </c:pt>
                <c:pt idx="5436">
                  <c:v>44.05</c:v>
                </c:pt>
                <c:pt idx="5437">
                  <c:v>44.230000000000011</c:v>
                </c:pt>
                <c:pt idx="5438">
                  <c:v>28.07</c:v>
                </c:pt>
                <c:pt idx="5439">
                  <c:v>28.47</c:v>
                </c:pt>
                <c:pt idx="5440">
                  <c:v>32.21</c:v>
                </c:pt>
                <c:pt idx="5441">
                  <c:v>51.27</c:v>
                </c:pt>
                <c:pt idx="5442">
                  <c:v>54.99</c:v>
                </c:pt>
                <c:pt idx="5443">
                  <c:v>36</c:v>
                </c:pt>
                <c:pt idx="5444">
                  <c:v>24.03</c:v>
                </c:pt>
                <c:pt idx="5445">
                  <c:v>38.410000000000004</c:v>
                </c:pt>
                <c:pt idx="5446">
                  <c:v>30.439999999999987</c:v>
                </c:pt>
                <c:pt idx="5447">
                  <c:v>32.880000000000003</c:v>
                </c:pt>
                <c:pt idx="5448">
                  <c:v>33.97</c:v>
                </c:pt>
                <c:pt idx="5449">
                  <c:v>25.68</c:v>
                </c:pt>
                <c:pt idx="5450">
                  <c:v>29.14</c:v>
                </c:pt>
                <c:pt idx="5451">
                  <c:v>55.5</c:v>
                </c:pt>
                <c:pt idx="5452">
                  <c:v>45.44</c:v>
                </c:pt>
                <c:pt idx="5453">
                  <c:v>29.31000000000002</c:v>
                </c:pt>
                <c:pt idx="5454">
                  <c:v>44.44</c:v>
                </c:pt>
                <c:pt idx="5455">
                  <c:v>47.190000000000012</c:v>
                </c:pt>
                <c:pt idx="5456">
                  <c:v>32.24</c:v>
                </c:pt>
                <c:pt idx="5457">
                  <c:v>42.04</c:v>
                </c:pt>
                <c:pt idx="5458">
                  <c:v>40.99</c:v>
                </c:pt>
                <c:pt idx="5459">
                  <c:v>29.779999999999987</c:v>
                </c:pt>
                <c:pt idx="5460">
                  <c:v>25.13000000000002</c:v>
                </c:pt>
                <c:pt idx="5461">
                  <c:v>24.86</c:v>
                </c:pt>
                <c:pt idx="5462">
                  <c:v>36.99</c:v>
                </c:pt>
                <c:pt idx="5463">
                  <c:v>31.59</c:v>
                </c:pt>
                <c:pt idx="5464">
                  <c:v>27.8</c:v>
                </c:pt>
                <c:pt idx="5465">
                  <c:v>26.86</c:v>
                </c:pt>
                <c:pt idx="5466">
                  <c:v>25.45</c:v>
                </c:pt>
                <c:pt idx="5467">
                  <c:v>42.06</c:v>
                </c:pt>
                <c:pt idx="5468">
                  <c:v>30.04</c:v>
                </c:pt>
                <c:pt idx="5469">
                  <c:v>28.08</c:v>
                </c:pt>
                <c:pt idx="5470">
                  <c:v>34.910000000000004</c:v>
                </c:pt>
                <c:pt idx="5471">
                  <c:v>39.950000000000003</c:v>
                </c:pt>
                <c:pt idx="5472">
                  <c:v>49.94</c:v>
                </c:pt>
                <c:pt idx="5473">
                  <c:v>28.15000000000002</c:v>
                </c:pt>
                <c:pt idx="5474">
                  <c:v>27.99</c:v>
                </c:pt>
                <c:pt idx="5475">
                  <c:v>47.1</c:v>
                </c:pt>
                <c:pt idx="5476">
                  <c:v>22.610000000000021</c:v>
                </c:pt>
                <c:pt idx="5477">
                  <c:v>12.450000000000006</c:v>
                </c:pt>
                <c:pt idx="5478">
                  <c:v>33.03</c:v>
                </c:pt>
                <c:pt idx="5479">
                  <c:v>48.08</c:v>
                </c:pt>
                <c:pt idx="5480">
                  <c:v>25.979999999999986</c:v>
                </c:pt>
                <c:pt idx="5481">
                  <c:v>36.42</c:v>
                </c:pt>
                <c:pt idx="5482">
                  <c:v>43.91</c:v>
                </c:pt>
                <c:pt idx="5483">
                  <c:v>25.41</c:v>
                </c:pt>
                <c:pt idx="5484">
                  <c:v>36.07</c:v>
                </c:pt>
                <c:pt idx="5485">
                  <c:v>25.759999999999987</c:v>
                </c:pt>
                <c:pt idx="5486">
                  <c:v>27.939999999999987</c:v>
                </c:pt>
                <c:pt idx="5487">
                  <c:v>25.22</c:v>
                </c:pt>
                <c:pt idx="5488">
                  <c:v>28.68</c:v>
                </c:pt>
                <c:pt idx="5489">
                  <c:v>24.830000000000005</c:v>
                </c:pt>
                <c:pt idx="5490">
                  <c:v>28.5</c:v>
                </c:pt>
                <c:pt idx="5491">
                  <c:v>43.720000000000013</c:v>
                </c:pt>
                <c:pt idx="5492">
                  <c:v>27.03</c:v>
                </c:pt>
                <c:pt idx="5493">
                  <c:v>26.03</c:v>
                </c:pt>
                <c:pt idx="5494">
                  <c:v>28.68</c:v>
                </c:pt>
                <c:pt idx="5495">
                  <c:v>30.43</c:v>
                </c:pt>
                <c:pt idx="5496">
                  <c:v>35.92</c:v>
                </c:pt>
                <c:pt idx="5497">
                  <c:v>32.01</c:v>
                </c:pt>
                <c:pt idx="5498">
                  <c:v>32.770000000000003</c:v>
                </c:pt>
                <c:pt idx="5499">
                  <c:v>43.06</c:v>
                </c:pt>
                <c:pt idx="5500">
                  <c:v>30.08</c:v>
                </c:pt>
                <c:pt idx="5501">
                  <c:v>42.06</c:v>
                </c:pt>
                <c:pt idx="5502">
                  <c:v>29.95</c:v>
                </c:pt>
                <c:pt idx="5503">
                  <c:v>11.98</c:v>
                </c:pt>
                <c:pt idx="5504">
                  <c:v>28.19</c:v>
                </c:pt>
                <c:pt idx="5505">
                  <c:v>23.939999999999987</c:v>
                </c:pt>
                <c:pt idx="5506">
                  <c:v>26.57</c:v>
                </c:pt>
                <c:pt idx="5507">
                  <c:v>46.7</c:v>
                </c:pt>
                <c:pt idx="5508">
                  <c:v>30.09</c:v>
                </c:pt>
                <c:pt idx="5509">
                  <c:v>32.58</c:v>
                </c:pt>
                <c:pt idx="5510">
                  <c:v>26.57</c:v>
                </c:pt>
                <c:pt idx="5511">
                  <c:v>39.44</c:v>
                </c:pt>
                <c:pt idx="5512">
                  <c:v>41.44</c:v>
                </c:pt>
                <c:pt idx="5513">
                  <c:v>28.31000000000002</c:v>
                </c:pt>
                <c:pt idx="5514">
                  <c:v>25.03</c:v>
                </c:pt>
                <c:pt idx="5515">
                  <c:v>35.200000000000003</c:v>
                </c:pt>
                <c:pt idx="5516">
                  <c:v>44.03</c:v>
                </c:pt>
                <c:pt idx="5517">
                  <c:v>22.13000000000002</c:v>
                </c:pt>
                <c:pt idx="5518">
                  <c:v>29.01</c:v>
                </c:pt>
                <c:pt idx="5519">
                  <c:v>27.87</c:v>
                </c:pt>
                <c:pt idx="5520">
                  <c:v>43.93</c:v>
                </c:pt>
                <c:pt idx="5521">
                  <c:v>36.78</c:v>
                </c:pt>
                <c:pt idx="5522">
                  <c:v>27.919999999999987</c:v>
                </c:pt>
                <c:pt idx="5523">
                  <c:v>52.07</c:v>
                </c:pt>
                <c:pt idx="5524">
                  <c:v>59.45</c:v>
                </c:pt>
                <c:pt idx="5525">
                  <c:v>26.1</c:v>
                </c:pt>
                <c:pt idx="5526">
                  <c:v>27.72</c:v>
                </c:pt>
                <c:pt idx="5527">
                  <c:v>31.95</c:v>
                </c:pt>
                <c:pt idx="5528">
                  <c:v>43.95</c:v>
                </c:pt>
                <c:pt idx="5529">
                  <c:v>40.04</c:v>
                </c:pt>
                <c:pt idx="5530">
                  <c:v>43.93</c:v>
                </c:pt>
                <c:pt idx="5531">
                  <c:v>26.08</c:v>
                </c:pt>
                <c:pt idx="5532">
                  <c:v>51.59</c:v>
                </c:pt>
                <c:pt idx="5533">
                  <c:v>25.01</c:v>
                </c:pt>
                <c:pt idx="5534">
                  <c:v>45.190000000000012</c:v>
                </c:pt>
                <c:pt idx="5535">
                  <c:v>39.720000000000013</c:v>
                </c:pt>
                <c:pt idx="5536">
                  <c:v>21.9</c:v>
                </c:pt>
                <c:pt idx="5537">
                  <c:v>22.04</c:v>
                </c:pt>
                <c:pt idx="5538">
                  <c:v>40.67</c:v>
                </c:pt>
                <c:pt idx="5539">
                  <c:v>13.58</c:v>
                </c:pt>
                <c:pt idx="5540">
                  <c:v>16.010000000000005</c:v>
                </c:pt>
                <c:pt idx="5541">
                  <c:v>18.059999999999999</c:v>
                </c:pt>
                <c:pt idx="5542">
                  <c:v>40.98</c:v>
                </c:pt>
                <c:pt idx="5543">
                  <c:v>40</c:v>
                </c:pt>
                <c:pt idx="5544">
                  <c:v>24.27</c:v>
                </c:pt>
                <c:pt idx="5545">
                  <c:v>50.01</c:v>
                </c:pt>
                <c:pt idx="5546">
                  <c:v>46.660000000000011</c:v>
                </c:pt>
                <c:pt idx="5547">
                  <c:v>28.41</c:v>
                </c:pt>
                <c:pt idx="5548">
                  <c:v>29.27</c:v>
                </c:pt>
                <c:pt idx="5549">
                  <c:v>21.91</c:v>
                </c:pt>
                <c:pt idx="5550">
                  <c:v>29.939999999999987</c:v>
                </c:pt>
                <c:pt idx="5551">
                  <c:v>29.14</c:v>
                </c:pt>
                <c:pt idx="5552">
                  <c:v>29.4</c:v>
                </c:pt>
                <c:pt idx="5553">
                  <c:v>50.04</c:v>
                </c:pt>
                <c:pt idx="5554">
                  <c:v>22.38</c:v>
                </c:pt>
                <c:pt idx="5555">
                  <c:v>27.07</c:v>
                </c:pt>
                <c:pt idx="5556">
                  <c:v>22.04</c:v>
                </c:pt>
                <c:pt idx="5557">
                  <c:v>35.950000000000003</c:v>
                </c:pt>
                <c:pt idx="5558">
                  <c:v>50</c:v>
                </c:pt>
                <c:pt idx="5559">
                  <c:v>38.550000000000004</c:v>
                </c:pt>
                <c:pt idx="5560">
                  <c:v>60.04</c:v>
                </c:pt>
                <c:pt idx="5561">
                  <c:v>43.96</c:v>
                </c:pt>
                <c:pt idx="5562">
                  <c:v>39.370000000000005</c:v>
                </c:pt>
                <c:pt idx="5563">
                  <c:v>31.07</c:v>
                </c:pt>
                <c:pt idx="5564">
                  <c:v>47.44</c:v>
                </c:pt>
                <c:pt idx="5565">
                  <c:v>50.44</c:v>
                </c:pt>
                <c:pt idx="5566">
                  <c:v>48.02</c:v>
                </c:pt>
                <c:pt idx="5567">
                  <c:v>20.439999999999987</c:v>
                </c:pt>
                <c:pt idx="5568">
                  <c:v>53.84</c:v>
                </c:pt>
                <c:pt idx="5569">
                  <c:v>10.65</c:v>
                </c:pt>
                <c:pt idx="5570">
                  <c:v>31.22</c:v>
                </c:pt>
                <c:pt idx="5571">
                  <c:v>30.06</c:v>
                </c:pt>
                <c:pt idx="5572">
                  <c:v>43.89</c:v>
                </c:pt>
                <c:pt idx="5573">
                  <c:v>29.01</c:v>
                </c:pt>
                <c:pt idx="5574">
                  <c:v>25.979999999999986</c:v>
                </c:pt>
                <c:pt idx="5575">
                  <c:v>50.97</c:v>
                </c:pt>
                <c:pt idx="5576">
                  <c:v>40.5</c:v>
                </c:pt>
                <c:pt idx="5577">
                  <c:v>32.220000000000013</c:v>
                </c:pt>
                <c:pt idx="5578">
                  <c:v>29.17</c:v>
                </c:pt>
                <c:pt idx="5579">
                  <c:v>24.97</c:v>
                </c:pt>
                <c:pt idx="5580">
                  <c:v>27.71</c:v>
                </c:pt>
                <c:pt idx="5581">
                  <c:v>31.47</c:v>
                </c:pt>
                <c:pt idx="5582">
                  <c:v>46.9</c:v>
                </c:pt>
                <c:pt idx="5583">
                  <c:v>36</c:v>
                </c:pt>
                <c:pt idx="5584">
                  <c:v>28.51</c:v>
                </c:pt>
                <c:pt idx="5585">
                  <c:v>52</c:v>
                </c:pt>
                <c:pt idx="5586">
                  <c:v>14.53</c:v>
                </c:pt>
                <c:pt idx="5587">
                  <c:v>41.4</c:v>
                </c:pt>
                <c:pt idx="5588">
                  <c:v>33.46</c:v>
                </c:pt>
                <c:pt idx="5589">
                  <c:v>31.08</c:v>
                </c:pt>
                <c:pt idx="5590">
                  <c:v>31.88</c:v>
                </c:pt>
                <c:pt idx="5591">
                  <c:v>38.99</c:v>
                </c:pt>
                <c:pt idx="5592">
                  <c:v>30.35</c:v>
                </c:pt>
                <c:pt idx="5593">
                  <c:v>18.05</c:v>
                </c:pt>
                <c:pt idx="5594">
                  <c:v>42.730000000000011</c:v>
                </c:pt>
                <c:pt idx="5595">
                  <c:v>51.5</c:v>
                </c:pt>
                <c:pt idx="5596">
                  <c:v>44.81</c:v>
                </c:pt>
                <c:pt idx="5597">
                  <c:v>29.49</c:v>
                </c:pt>
                <c:pt idx="5598">
                  <c:v>27.32</c:v>
                </c:pt>
                <c:pt idx="5599">
                  <c:v>46.37</c:v>
                </c:pt>
                <c:pt idx="5600">
                  <c:v>37.220000000000013</c:v>
                </c:pt>
                <c:pt idx="5601">
                  <c:v>32.01</c:v>
                </c:pt>
                <c:pt idx="5602">
                  <c:v>42.99</c:v>
                </c:pt>
                <c:pt idx="5603">
                  <c:v>46.730000000000011</c:v>
                </c:pt>
                <c:pt idx="5604">
                  <c:v>27.3</c:v>
                </c:pt>
                <c:pt idx="5605">
                  <c:v>46.17</c:v>
                </c:pt>
                <c:pt idx="5606">
                  <c:v>54.02</c:v>
                </c:pt>
                <c:pt idx="5607">
                  <c:v>16.7</c:v>
                </c:pt>
                <c:pt idx="5608">
                  <c:v>29.03</c:v>
                </c:pt>
                <c:pt idx="5609">
                  <c:v>26.65000000000002</c:v>
                </c:pt>
                <c:pt idx="5610">
                  <c:v>40.090000000000003</c:v>
                </c:pt>
                <c:pt idx="5611">
                  <c:v>24.07</c:v>
                </c:pt>
                <c:pt idx="5612">
                  <c:v>25.479999999999986</c:v>
                </c:pt>
                <c:pt idx="5613">
                  <c:v>61.89</c:v>
                </c:pt>
                <c:pt idx="5614">
                  <c:v>26.65000000000002</c:v>
                </c:pt>
                <c:pt idx="5615">
                  <c:v>16.3</c:v>
                </c:pt>
                <c:pt idx="5616">
                  <c:v>41.47</c:v>
                </c:pt>
                <c:pt idx="5617">
                  <c:v>25.57</c:v>
                </c:pt>
                <c:pt idx="5618">
                  <c:v>29.95</c:v>
                </c:pt>
                <c:pt idx="5619">
                  <c:v>25.09</c:v>
                </c:pt>
                <c:pt idx="5620">
                  <c:v>55.64</c:v>
                </c:pt>
                <c:pt idx="5621">
                  <c:v>27.81000000000002</c:v>
                </c:pt>
                <c:pt idx="5622">
                  <c:v>39.870000000000005</c:v>
                </c:pt>
                <c:pt idx="5623">
                  <c:v>18.87</c:v>
                </c:pt>
                <c:pt idx="5624">
                  <c:v>46.39</c:v>
                </c:pt>
                <c:pt idx="5625">
                  <c:v>30.39</c:v>
                </c:pt>
                <c:pt idx="5626">
                  <c:v>33.21</c:v>
                </c:pt>
                <c:pt idx="5627">
                  <c:v>51.660000000000011</c:v>
                </c:pt>
                <c:pt idx="5628">
                  <c:v>34</c:v>
                </c:pt>
                <c:pt idx="5629">
                  <c:v>26.08</c:v>
                </c:pt>
                <c:pt idx="5630">
                  <c:v>27.06</c:v>
                </c:pt>
                <c:pt idx="5631">
                  <c:v>45.230000000000011</c:v>
                </c:pt>
                <c:pt idx="5632">
                  <c:v>53.54</c:v>
                </c:pt>
                <c:pt idx="5633">
                  <c:v>29.41</c:v>
                </c:pt>
                <c:pt idx="5634">
                  <c:v>44.91</c:v>
                </c:pt>
                <c:pt idx="5635">
                  <c:v>39.94</c:v>
                </c:pt>
                <c:pt idx="5636">
                  <c:v>48.730000000000011</c:v>
                </c:pt>
                <c:pt idx="5637">
                  <c:v>28.03</c:v>
                </c:pt>
                <c:pt idx="5638">
                  <c:v>40.690000000000012</c:v>
                </c:pt>
                <c:pt idx="5639">
                  <c:v>52.4</c:v>
                </c:pt>
                <c:pt idx="5640">
                  <c:v>31.38</c:v>
                </c:pt>
                <c:pt idx="5641">
                  <c:v>30.05</c:v>
                </c:pt>
                <c:pt idx="5642">
                  <c:v>22.830000000000005</c:v>
                </c:pt>
                <c:pt idx="5643">
                  <c:v>34.25</c:v>
                </c:pt>
                <c:pt idx="5644">
                  <c:v>50</c:v>
                </c:pt>
                <c:pt idx="5645">
                  <c:v>35.590000000000003</c:v>
                </c:pt>
                <c:pt idx="5646">
                  <c:v>21.67</c:v>
                </c:pt>
                <c:pt idx="5647">
                  <c:v>28.259999999999987</c:v>
                </c:pt>
                <c:pt idx="5648">
                  <c:v>52.02</c:v>
                </c:pt>
                <c:pt idx="5649">
                  <c:v>27.419999999999987</c:v>
                </c:pt>
                <c:pt idx="5650">
                  <c:v>23.79</c:v>
                </c:pt>
                <c:pt idx="5651">
                  <c:v>56.78</c:v>
                </c:pt>
                <c:pt idx="5652">
                  <c:v>23.419999999999987</c:v>
                </c:pt>
                <c:pt idx="5653">
                  <c:v>25.69</c:v>
                </c:pt>
                <c:pt idx="5654">
                  <c:v>25.24</c:v>
                </c:pt>
                <c:pt idx="5655">
                  <c:v>33.300000000000004</c:v>
                </c:pt>
                <c:pt idx="5656">
                  <c:v>28.8</c:v>
                </c:pt>
                <c:pt idx="5657">
                  <c:v>31.01</c:v>
                </c:pt>
                <c:pt idx="5658">
                  <c:v>27.95</c:v>
                </c:pt>
                <c:pt idx="5659">
                  <c:v>15.35000000000001</c:v>
                </c:pt>
                <c:pt idx="5660">
                  <c:v>55.2</c:v>
                </c:pt>
                <c:pt idx="5661">
                  <c:v>26.53</c:v>
                </c:pt>
                <c:pt idx="5662">
                  <c:v>34.47</c:v>
                </c:pt>
                <c:pt idx="5663">
                  <c:v>25.93</c:v>
                </c:pt>
                <c:pt idx="5664">
                  <c:v>37.160000000000011</c:v>
                </c:pt>
                <c:pt idx="5665">
                  <c:v>27.7</c:v>
                </c:pt>
                <c:pt idx="5666">
                  <c:v>51.83</c:v>
                </c:pt>
                <c:pt idx="5667">
                  <c:v>32.54</c:v>
                </c:pt>
                <c:pt idx="5668">
                  <c:v>28.19</c:v>
                </c:pt>
                <c:pt idx="5669">
                  <c:v>43.97</c:v>
                </c:pt>
                <c:pt idx="5670">
                  <c:v>28.89</c:v>
                </c:pt>
                <c:pt idx="5671">
                  <c:v>53.91</c:v>
                </c:pt>
                <c:pt idx="5672">
                  <c:v>25.69</c:v>
                </c:pt>
                <c:pt idx="5673">
                  <c:v>35.31</c:v>
                </c:pt>
                <c:pt idx="5674">
                  <c:v>27.55</c:v>
                </c:pt>
                <c:pt idx="5675">
                  <c:v>44.98</c:v>
                </c:pt>
                <c:pt idx="5676">
                  <c:v>13.13</c:v>
                </c:pt>
                <c:pt idx="5677">
                  <c:v>50.03</c:v>
                </c:pt>
                <c:pt idx="5678">
                  <c:v>27.06</c:v>
                </c:pt>
                <c:pt idx="5679">
                  <c:v>33.21</c:v>
                </c:pt>
                <c:pt idx="5680">
                  <c:v>27.479999999999986</c:v>
                </c:pt>
                <c:pt idx="5681">
                  <c:v>34.97</c:v>
                </c:pt>
                <c:pt idx="5682">
                  <c:v>32.07</c:v>
                </c:pt>
                <c:pt idx="5683">
                  <c:v>39.92</c:v>
                </c:pt>
                <c:pt idx="5684">
                  <c:v>26.17</c:v>
                </c:pt>
                <c:pt idx="5685">
                  <c:v>27.89</c:v>
                </c:pt>
                <c:pt idx="5686">
                  <c:v>29.91</c:v>
                </c:pt>
                <c:pt idx="5687">
                  <c:v>32.14</c:v>
                </c:pt>
                <c:pt idx="5688">
                  <c:v>37.35</c:v>
                </c:pt>
                <c:pt idx="5689">
                  <c:v>24.110000000000021</c:v>
                </c:pt>
                <c:pt idx="5690">
                  <c:v>41.38</c:v>
                </c:pt>
                <c:pt idx="5691">
                  <c:v>41.51</c:v>
                </c:pt>
                <c:pt idx="5692">
                  <c:v>52.49</c:v>
                </c:pt>
                <c:pt idx="5693">
                  <c:v>35.44</c:v>
                </c:pt>
                <c:pt idx="5694">
                  <c:v>20.45</c:v>
                </c:pt>
                <c:pt idx="5695">
                  <c:v>29.54</c:v>
                </c:pt>
                <c:pt idx="5696">
                  <c:v>26.02</c:v>
                </c:pt>
                <c:pt idx="5697">
                  <c:v>50.120000000000012</c:v>
                </c:pt>
                <c:pt idx="5698">
                  <c:v>59.06</c:v>
                </c:pt>
                <c:pt idx="5699">
                  <c:v>29.65000000000002</c:v>
                </c:pt>
                <c:pt idx="5700">
                  <c:v>41.97</c:v>
                </c:pt>
                <c:pt idx="5701">
                  <c:v>13.88</c:v>
                </c:pt>
                <c:pt idx="5702">
                  <c:v>26.01</c:v>
                </c:pt>
                <c:pt idx="5703">
                  <c:v>24.79</c:v>
                </c:pt>
                <c:pt idx="5704">
                  <c:v>38.01</c:v>
                </c:pt>
                <c:pt idx="5705">
                  <c:v>42.54</c:v>
                </c:pt>
                <c:pt idx="5706">
                  <c:v>35.480000000000004</c:v>
                </c:pt>
                <c:pt idx="5707">
                  <c:v>54.720000000000013</c:v>
                </c:pt>
                <c:pt idx="5708">
                  <c:v>28.71</c:v>
                </c:pt>
                <c:pt idx="5709">
                  <c:v>30.73</c:v>
                </c:pt>
                <c:pt idx="5710">
                  <c:v>37.64</c:v>
                </c:pt>
                <c:pt idx="5711">
                  <c:v>25.759999999999987</c:v>
                </c:pt>
                <c:pt idx="5712">
                  <c:v>30.959999999999987</c:v>
                </c:pt>
                <c:pt idx="5713">
                  <c:v>32.54</c:v>
                </c:pt>
                <c:pt idx="5714">
                  <c:v>36.04</c:v>
                </c:pt>
                <c:pt idx="5715">
                  <c:v>23.73</c:v>
                </c:pt>
                <c:pt idx="5716">
                  <c:v>39.92</c:v>
                </c:pt>
                <c:pt idx="5717">
                  <c:v>28.04</c:v>
                </c:pt>
                <c:pt idx="5718">
                  <c:v>9.73</c:v>
                </c:pt>
                <c:pt idx="5719">
                  <c:v>45.14</c:v>
                </c:pt>
                <c:pt idx="5720">
                  <c:v>42.92</c:v>
                </c:pt>
                <c:pt idx="5721">
                  <c:v>44.93</c:v>
                </c:pt>
                <c:pt idx="5722">
                  <c:v>26.39</c:v>
                </c:pt>
                <c:pt idx="5723">
                  <c:v>26.59</c:v>
                </c:pt>
                <c:pt idx="5724">
                  <c:v>26.87</c:v>
                </c:pt>
                <c:pt idx="5725">
                  <c:v>44.01</c:v>
                </c:pt>
                <c:pt idx="5726">
                  <c:v>40.39</c:v>
                </c:pt>
                <c:pt idx="5727">
                  <c:v>31.08</c:v>
                </c:pt>
                <c:pt idx="5728">
                  <c:v>61.41</c:v>
                </c:pt>
                <c:pt idx="5729">
                  <c:v>24.79</c:v>
                </c:pt>
                <c:pt idx="5730">
                  <c:v>36.260000000000012</c:v>
                </c:pt>
                <c:pt idx="5731">
                  <c:v>28.479999999999986</c:v>
                </c:pt>
                <c:pt idx="5732">
                  <c:v>27.19</c:v>
                </c:pt>
                <c:pt idx="5733">
                  <c:v>43.97</c:v>
                </c:pt>
                <c:pt idx="5734">
                  <c:v>45.71</c:v>
                </c:pt>
                <c:pt idx="5735">
                  <c:v>36.47</c:v>
                </c:pt>
                <c:pt idx="5736">
                  <c:v>43.71</c:v>
                </c:pt>
                <c:pt idx="5737">
                  <c:v>37.910000000000004</c:v>
                </c:pt>
                <c:pt idx="5738">
                  <c:v>28.31000000000002</c:v>
                </c:pt>
                <c:pt idx="5739">
                  <c:v>27.3</c:v>
                </c:pt>
                <c:pt idx="5740">
                  <c:v>33.160000000000011</c:v>
                </c:pt>
                <c:pt idx="5741">
                  <c:v>23.45</c:v>
                </c:pt>
                <c:pt idx="5742">
                  <c:v>60.08</c:v>
                </c:pt>
                <c:pt idx="5743">
                  <c:v>32.120000000000012</c:v>
                </c:pt>
                <c:pt idx="5744">
                  <c:v>21.08</c:v>
                </c:pt>
                <c:pt idx="5745">
                  <c:v>29.01</c:v>
                </c:pt>
                <c:pt idx="5746">
                  <c:v>27.47</c:v>
                </c:pt>
                <c:pt idx="5747">
                  <c:v>28.56</c:v>
                </c:pt>
                <c:pt idx="5748">
                  <c:v>18.559999999999999</c:v>
                </c:pt>
                <c:pt idx="5749">
                  <c:v>28.6</c:v>
                </c:pt>
                <c:pt idx="5750">
                  <c:v>32.21</c:v>
                </c:pt>
                <c:pt idx="5751">
                  <c:v>28.73</c:v>
                </c:pt>
                <c:pt idx="5752">
                  <c:v>34.910000000000004</c:v>
                </c:pt>
                <c:pt idx="5753">
                  <c:v>57.82</c:v>
                </c:pt>
                <c:pt idx="5754">
                  <c:v>36.92</c:v>
                </c:pt>
                <c:pt idx="5755">
                  <c:v>43.9</c:v>
                </c:pt>
                <c:pt idx="5756">
                  <c:v>21.64</c:v>
                </c:pt>
                <c:pt idx="5757">
                  <c:v>24.06</c:v>
                </c:pt>
                <c:pt idx="5758">
                  <c:v>28.459999999999987</c:v>
                </c:pt>
                <c:pt idx="5759">
                  <c:v>36.65</c:v>
                </c:pt>
                <c:pt idx="5760">
                  <c:v>43.85</c:v>
                </c:pt>
                <c:pt idx="5761">
                  <c:v>28.04</c:v>
                </c:pt>
                <c:pt idx="5762">
                  <c:v>28.86</c:v>
                </c:pt>
                <c:pt idx="5763">
                  <c:v>25.01</c:v>
                </c:pt>
                <c:pt idx="5764">
                  <c:v>47.91</c:v>
                </c:pt>
                <c:pt idx="5765">
                  <c:v>54.9</c:v>
                </c:pt>
                <c:pt idx="5766">
                  <c:v>34</c:v>
                </c:pt>
                <c:pt idx="5767">
                  <c:v>40.720000000000013</c:v>
                </c:pt>
                <c:pt idx="5768">
                  <c:v>30.35</c:v>
                </c:pt>
                <c:pt idx="5769">
                  <c:v>60.08</c:v>
                </c:pt>
                <c:pt idx="5770">
                  <c:v>16.68</c:v>
                </c:pt>
                <c:pt idx="5771">
                  <c:v>35.660000000000011</c:v>
                </c:pt>
                <c:pt idx="5772">
                  <c:v>33.21</c:v>
                </c:pt>
                <c:pt idx="5773">
                  <c:v>43.11</c:v>
                </c:pt>
                <c:pt idx="5774">
                  <c:v>32.65</c:v>
                </c:pt>
                <c:pt idx="5775">
                  <c:v>51.51</c:v>
                </c:pt>
                <c:pt idx="5776">
                  <c:v>68.5</c:v>
                </c:pt>
                <c:pt idx="5777">
                  <c:v>21.259999999999987</c:v>
                </c:pt>
                <c:pt idx="5778">
                  <c:v>40.730000000000011</c:v>
                </c:pt>
                <c:pt idx="5779">
                  <c:v>29.15000000000002</c:v>
                </c:pt>
                <c:pt idx="5780">
                  <c:v>21.99</c:v>
                </c:pt>
                <c:pt idx="5781">
                  <c:v>27.77</c:v>
                </c:pt>
                <c:pt idx="5782">
                  <c:v>46.690000000000012</c:v>
                </c:pt>
                <c:pt idx="5783">
                  <c:v>47.92</c:v>
                </c:pt>
                <c:pt idx="5784">
                  <c:v>27.99</c:v>
                </c:pt>
                <c:pt idx="5785">
                  <c:v>26.02</c:v>
                </c:pt>
                <c:pt idx="5786">
                  <c:v>22.03</c:v>
                </c:pt>
                <c:pt idx="5787">
                  <c:v>44.2</c:v>
                </c:pt>
                <c:pt idx="5788">
                  <c:v>43.99</c:v>
                </c:pt>
                <c:pt idx="5789">
                  <c:v>31.1</c:v>
                </c:pt>
                <c:pt idx="5790">
                  <c:v>51.94</c:v>
                </c:pt>
                <c:pt idx="5791">
                  <c:v>35.01</c:v>
                </c:pt>
                <c:pt idx="5792">
                  <c:v>63.02</c:v>
                </c:pt>
                <c:pt idx="5793">
                  <c:v>31.97</c:v>
                </c:pt>
                <c:pt idx="5794">
                  <c:v>26.24</c:v>
                </c:pt>
                <c:pt idx="5795">
                  <c:v>35.590000000000003</c:v>
                </c:pt>
                <c:pt idx="5796">
                  <c:v>44.160000000000011</c:v>
                </c:pt>
                <c:pt idx="5797">
                  <c:v>22.73</c:v>
                </c:pt>
                <c:pt idx="5798">
                  <c:v>26.58</c:v>
                </c:pt>
                <c:pt idx="5799">
                  <c:v>28.330000000000005</c:v>
                </c:pt>
                <c:pt idx="5800">
                  <c:v>44.290000000000013</c:v>
                </c:pt>
                <c:pt idx="5801">
                  <c:v>49.11</c:v>
                </c:pt>
                <c:pt idx="5802">
                  <c:v>49.15</c:v>
                </c:pt>
                <c:pt idx="5803">
                  <c:v>28.53</c:v>
                </c:pt>
                <c:pt idx="5804">
                  <c:v>39.82</c:v>
                </c:pt>
                <c:pt idx="5805">
                  <c:v>38.96</c:v>
                </c:pt>
                <c:pt idx="5806">
                  <c:v>31.979999999999986</c:v>
                </c:pt>
                <c:pt idx="5807">
                  <c:v>37.92</c:v>
                </c:pt>
                <c:pt idx="5808">
                  <c:v>51.21</c:v>
                </c:pt>
                <c:pt idx="5809">
                  <c:v>19.899999999999999</c:v>
                </c:pt>
                <c:pt idx="5810">
                  <c:v>28.21</c:v>
                </c:pt>
                <c:pt idx="5811">
                  <c:v>32.24</c:v>
                </c:pt>
                <c:pt idx="5812">
                  <c:v>26.13000000000002</c:v>
                </c:pt>
                <c:pt idx="5813">
                  <c:v>29.979999999999986</c:v>
                </c:pt>
                <c:pt idx="5814">
                  <c:v>40.790000000000013</c:v>
                </c:pt>
                <c:pt idx="5815">
                  <c:v>53.46</c:v>
                </c:pt>
                <c:pt idx="5816">
                  <c:v>27.4</c:v>
                </c:pt>
                <c:pt idx="5817">
                  <c:v>28.55</c:v>
                </c:pt>
                <c:pt idx="5818">
                  <c:v>42.87</c:v>
                </c:pt>
                <c:pt idx="5819">
                  <c:v>47.58</c:v>
                </c:pt>
                <c:pt idx="5820">
                  <c:v>24.55</c:v>
                </c:pt>
                <c:pt idx="5821">
                  <c:v>28.459999999999987</c:v>
                </c:pt>
                <c:pt idx="5822">
                  <c:v>40.08</c:v>
                </c:pt>
                <c:pt idx="5823">
                  <c:v>48.17</c:v>
                </c:pt>
                <c:pt idx="5824">
                  <c:v>16.64</c:v>
                </c:pt>
                <c:pt idx="5825">
                  <c:v>38.65</c:v>
                </c:pt>
                <c:pt idx="5826">
                  <c:v>22.47</c:v>
                </c:pt>
                <c:pt idx="5827">
                  <c:v>39.39</c:v>
                </c:pt>
                <c:pt idx="5828">
                  <c:v>27.2</c:v>
                </c:pt>
                <c:pt idx="5829">
                  <c:v>30.5</c:v>
                </c:pt>
                <c:pt idx="5830">
                  <c:v>23.52</c:v>
                </c:pt>
                <c:pt idx="5831">
                  <c:v>27.95</c:v>
                </c:pt>
                <c:pt idx="5832">
                  <c:v>23.93</c:v>
                </c:pt>
                <c:pt idx="5833">
                  <c:v>47.02</c:v>
                </c:pt>
                <c:pt idx="5834">
                  <c:v>41.91</c:v>
                </c:pt>
                <c:pt idx="5835">
                  <c:v>37.590000000000003</c:v>
                </c:pt>
                <c:pt idx="5836">
                  <c:v>24.91</c:v>
                </c:pt>
                <c:pt idx="5837">
                  <c:v>25.91</c:v>
                </c:pt>
                <c:pt idx="5838">
                  <c:v>31.479999999999986</c:v>
                </c:pt>
                <c:pt idx="5839">
                  <c:v>40.82</c:v>
                </c:pt>
                <c:pt idx="5840">
                  <c:v>40.98</c:v>
                </c:pt>
                <c:pt idx="5841">
                  <c:v>45.92</c:v>
                </c:pt>
                <c:pt idx="5842">
                  <c:v>24.37</c:v>
                </c:pt>
                <c:pt idx="5843">
                  <c:v>29.18</c:v>
                </c:pt>
                <c:pt idx="5844">
                  <c:v>26.279999999999987</c:v>
                </c:pt>
                <c:pt idx="5845">
                  <c:v>40.39</c:v>
                </c:pt>
                <c:pt idx="5846">
                  <c:v>27.75</c:v>
                </c:pt>
                <c:pt idx="5847">
                  <c:v>46.98</c:v>
                </c:pt>
                <c:pt idx="5848">
                  <c:v>24.479999999999986</c:v>
                </c:pt>
                <c:pt idx="5849">
                  <c:v>41.89</c:v>
                </c:pt>
                <c:pt idx="5850">
                  <c:v>41.09</c:v>
                </c:pt>
                <c:pt idx="5851">
                  <c:v>49.54</c:v>
                </c:pt>
                <c:pt idx="5852">
                  <c:v>45.17</c:v>
                </c:pt>
                <c:pt idx="5853">
                  <c:v>12.2</c:v>
                </c:pt>
                <c:pt idx="5854">
                  <c:v>28.74</c:v>
                </c:pt>
                <c:pt idx="5855">
                  <c:v>26.6</c:v>
                </c:pt>
                <c:pt idx="5856">
                  <c:v>29.62</c:v>
                </c:pt>
                <c:pt idx="5857">
                  <c:v>28.73</c:v>
                </c:pt>
                <c:pt idx="5858">
                  <c:v>29.29</c:v>
                </c:pt>
                <c:pt idx="5859">
                  <c:v>45</c:v>
                </c:pt>
                <c:pt idx="5860">
                  <c:v>46.68</c:v>
                </c:pt>
                <c:pt idx="5861">
                  <c:v>27.72</c:v>
                </c:pt>
                <c:pt idx="5862">
                  <c:v>28.36</c:v>
                </c:pt>
                <c:pt idx="5863">
                  <c:v>28.25</c:v>
                </c:pt>
                <c:pt idx="5864">
                  <c:v>39.96</c:v>
                </c:pt>
                <c:pt idx="5865">
                  <c:v>58.84</c:v>
                </c:pt>
                <c:pt idx="5866">
                  <c:v>18.45</c:v>
                </c:pt>
                <c:pt idx="5867">
                  <c:v>28.08</c:v>
                </c:pt>
                <c:pt idx="5868">
                  <c:v>32.21</c:v>
                </c:pt>
                <c:pt idx="5869">
                  <c:v>36.99</c:v>
                </c:pt>
                <c:pt idx="5870">
                  <c:v>29.74</c:v>
                </c:pt>
                <c:pt idx="5871">
                  <c:v>24.47</c:v>
                </c:pt>
                <c:pt idx="5872">
                  <c:v>28.06</c:v>
                </c:pt>
                <c:pt idx="5873">
                  <c:v>15.66</c:v>
                </c:pt>
                <c:pt idx="5874">
                  <c:v>18.45</c:v>
                </c:pt>
                <c:pt idx="5875">
                  <c:v>19.479999999999986</c:v>
                </c:pt>
                <c:pt idx="5876">
                  <c:v>30.1</c:v>
                </c:pt>
                <c:pt idx="5877">
                  <c:v>25.979999999999986</c:v>
                </c:pt>
                <c:pt idx="5878">
                  <c:v>31.14</c:v>
                </c:pt>
                <c:pt idx="5879">
                  <c:v>40.020000000000003</c:v>
                </c:pt>
                <c:pt idx="5880">
                  <c:v>17.2</c:v>
                </c:pt>
                <c:pt idx="5881">
                  <c:v>30.05</c:v>
                </c:pt>
                <c:pt idx="5882">
                  <c:v>25.89</c:v>
                </c:pt>
                <c:pt idx="5883">
                  <c:v>41.18</c:v>
                </c:pt>
                <c:pt idx="5884">
                  <c:v>51.28</c:v>
                </c:pt>
                <c:pt idx="5885">
                  <c:v>46.07</c:v>
                </c:pt>
                <c:pt idx="5886">
                  <c:v>24.979999999999986</c:v>
                </c:pt>
                <c:pt idx="5887">
                  <c:v>27.58</c:v>
                </c:pt>
                <c:pt idx="5888">
                  <c:v>39.950000000000003</c:v>
                </c:pt>
                <c:pt idx="5889">
                  <c:v>37.08</c:v>
                </c:pt>
                <c:pt idx="5890">
                  <c:v>18.939999999999987</c:v>
                </c:pt>
                <c:pt idx="5891">
                  <c:v>28.459999999999987</c:v>
                </c:pt>
                <c:pt idx="5892">
                  <c:v>27.71</c:v>
                </c:pt>
                <c:pt idx="5893">
                  <c:v>25.59</c:v>
                </c:pt>
                <c:pt idx="5894">
                  <c:v>26.74</c:v>
                </c:pt>
                <c:pt idx="5895">
                  <c:v>14</c:v>
                </c:pt>
                <c:pt idx="5896">
                  <c:v>28.7</c:v>
                </c:pt>
                <c:pt idx="5897">
                  <c:v>27.54</c:v>
                </c:pt>
                <c:pt idx="5898">
                  <c:v>38.1</c:v>
                </c:pt>
                <c:pt idx="5899">
                  <c:v>37.690000000000012</c:v>
                </c:pt>
                <c:pt idx="5900">
                  <c:v>29.49</c:v>
                </c:pt>
                <c:pt idx="5901">
                  <c:v>32.43</c:v>
                </c:pt>
                <c:pt idx="5902">
                  <c:v>36.47</c:v>
                </c:pt>
                <c:pt idx="5903">
                  <c:v>26.86</c:v>
                </c:pt>
                <c:pt idx="5904">
                  <c:v>32.46</c:v>
                </c:pt>
                <c:pt idx="5905">
                  <c:v>32.690000000000012</c:v>
                </c:pt>
                <c:pt idx="5906">
                  <c:v>40.340000000000003</c:v>
                </c:pt>
                <c:pt idx="5907">
                  <c:v>43.34</c:v>
                </c:pt>
                <c:pt idx="5908">
                  <c:v>32.090000000000003</c:v>
                </c:pt>
                <c:pt idx="5909">
                  <c:v>29.49</c:v>
                </c:pt>
                <c:pt idx="5910">
                  <c:v>22.73</c:v>
                </c:pt>
                <c:pt idx="5911">
                  <c:v>31.65000000000002</c:v>
                </c:pt>
                <c:pt idx="5912">
                  <c:v>36.06</c:v>
                </c:pt>
                <c:pt idx="5913">
                  <c:v>48.3</c:v>
                </c:pt>
                <c:pt idx="5914">
                  <c:v>25.54</c:v>
                </c:pt>
                <c:pt idx="5915">
                  <c:v>29.01</c:v>
                </c:pt>
                <c:pt idx="5916">
                  <c:v>47.7</c:v>
                </c:pt>
                <c:pt idx="5917">
                  <c:v>25.1</c:v>
                </c:pt>
                <c:pt idx="5918">
                  <c:v>32.43</c:v>
                </c:pt>
                <c:pt idx="5919">
                  <c:v>52.02</c:v>
                </c:pt>
                <c:pt idx="5920">
                  <c:v>28.07</c:v>
                </c:pt>
                <c:pt idx="5921">
                  <c:v>37.86</c:v>
                </c:pt>
                <c:pt idx="5922">
                  <c:v>54.620000000000012</c:v>
                </c:pt>
                <c:pt idx="5923">
                  <c:v>31.56</c:v>
                </c:pt>
                <c:pt idx="5924">
                  <c:v>40.01</c:v>
                </c:pt>
                <c:pt idx="5925">
                  <c:v>34.97</c:v>
                </c:pt>
                <c:pt idx="5926">
                  <c:v>29.15000000000002</c:v>
                </c:pt>
                <c:pt idx="5927">
                  <c:v>23.68</c:v>
                </c:pt>
                <c:pt idx="5928">
                  <c:v>29.97</c:v>
                </c:pt>
                <c:pt idx="5929">
                  <c:v>18.5</c:v>
                </c:pt>
                <c:pt idx="5930">
                  <c:v>31.04</c:v>
                </c:pt>
                <c:pt idx="5931">
                  <c:v>24.23</c:v>
                </c:pt>
                <c:pt idx="5932">
                  <c:v>34.15</c:v>
                </c:pt>
                <c:pt idx="5933">
                  <c:v>31.919999999999987</c:v>
                </c:pt>
                <c:pt idx="5934">
                  <c:v>47.1</c:v>
                </c:pt>
                <c:pt idx="5935">
                  <c:v>49.9</c:v>
                </c:pt>
                <c:pt idx="5936">
                  <c:v>37.130000000000003</c:v>
                </c:pt>
                <c:pt idx="5937">
                  <c:v>29.02</c:v>
                </c:pt>
                <c:pt idx="5938">
                  <c:v>57.8</c:v>
                </c:pt>
                <c:pt idx="5939">
                  <c:v>29.05</c:v>
                </c:pt>
                <c:pt idx="5940">
                  <c:v>49.97</c:v>
                </c:pt>
                <c:pt idx="5941">
                  <c:v>29.95</c:v>
                </c:pt>
                <c:pt idx="5942">
                  <c:v>28.93</c:v>
                </c:pt>
                <c:pt idx="5943">
                  <c:v>41.45</c:v>
                </c:pt>
                <c:pt idx="5944">
                  <c:v>41.730000000000011</c:v>
                </c:pt>
                <c:pt idx="5945">
                  <c:v>22.82</c:v>
                </c:pt>
                <c:pt idx="5946">
                  <c:v>66.239999999999995</c:v>
                </c:pt>
                <c:pt idx="5947">
                  <c:v>44.93</c:v>
                </c:pt>
                <c:pt idx="5948">
                  <c:v>42.290000000000013</c:v>
                </c:pt>
                <c:pt idx="5949">
                  <c:v>19.8</c:v>
                </c:pt>
                <c:pt idx="5950">
                  <c:v>26.56</c:v>
                </c:pt>
                <c:pt idx="5951">
                  <c:v>36.93</c:v>
                </c:pt>
                <c:pt idx="5952">
                  <c:v>22.95</c:v>
                </c:pt>
                <c:pt idx="5953">
                  <c:v>32.85</c:v>
                </c:pt>
                <c:pt idx="5954">
                  <c:v>26.259999999999987</c:v>
                </c:pt>
                <c:pt idx="5955">
                  <c:v>55</c:v>
                </c:pt>
                <c:pt idx="5956">
                  <c:v>50.4</c:v>
                </c:pt>
                <c:pt idx="5957">
                  <c:v>32.380000000000003</c:v>
                </c:pt>
                <c:pt idx="5958">
                  <c:v>22.01</c:v>
                </c:pt>
                <c:pt idx="5959">
                  <c:v>15.27</c:v>
                </c:pt>
                <c:pt idx="5960">
                  <c:v>46.5</c:v>
                </c:pt>
                <c:pt idx="5961">
                  <c:v>46.64</c:v>
                </c:pt>
                <c:pt idx="5962">
                  <c:v>35.130000000000003</c:v>
                </c:pt>
                <c:pt idx="5963">
                  <c:v>25.54</c:v>
                </c:pt>
                <c:pt idx="5964">
                  <c:v>33.770000000000003</c:v>
                </c:pt>
                <c:pt idx="5965">
                  <c:v>27.29</c:v>
                </c:pt>
                <c:pt idx="5966">
                  <c:v>46</c:v>
                </c:pt>
                <c:pt idx="5967">
                  <c:v>24.09</c:v>
                </c:pt>
                <c:pt idx="5968">
                  <c:v>30.91</c:v>
                </c:pt>
                <c:pt idx="5969">
                  <c:v>29.79</c:v>
                </c:pt>
                <c:pt idx="5970">
                  <c:v>15.11</c:v>
                </c:pt>
                <c:pt idx="5971">
                  <c:v>39.83</c:v>
                </c:pt>
                <c:pt idx="5972">
                  <c:v>53.94</c:v>
                </c:pt>
                <c:pt idx="5973">
                  <c:v>34.380000000000003</c:v>
                </c:pt>
                <c:pt idx="5974">
                  <c:v>28.47</c:v>
                </c:pt>
                <c:pt idx="5975">
                  <c:v>35.44</c:v>
                </c:pt>
                <c:pt idx="5976">
                  <c:v>42.96</c:v>
                </c:pt>
                <c:pt idx="5977">
                  <c:v>27.74</c:v>
                </c:pt>
                <c:pt idx="5978">
                  <c:v>27.64</c:v>
                </c:pt>
                <c:pt idx="5979">
                  <c:v>29.03</c:v>
                </c:pt>
                <c:pt idx="5980">
                  <c:v>31.47</c:v>
                </c:pt>
                <c:pt idx="5981">
                  <c:v>47.94</c:v>
                </c:pt>
                <c:pt idx="5982">
                  <c:v>24.34</c:v>
                </c:pt>
                <c:pt idx="5983">
                  <c:v>25.63000000000002</c:v>
                </c:pt>
                <c:pt idx="5984">
                  <c:v>20.37</c:v>
                </c:pt>
                <c:pt idx="5985">
                  <c:v>23.77</c:v>
                </c:pt>
                <c:pt idx="5986">
                  <c:v>38.81</c:v>
                </c:pt>
                <c:pt idx="5987">
                  <c:v>33.270000000000003</c:v>
                </c:pt>
                <c:pt idx="5988">
                  <c:v>28.2</c:v>
                </c:pt>
                <c:pt idx="5989">
                  <c:v>19.579999999999988</c:v>
                </c:pt>
                <c:pt idx="5990">
                  <c:v>35.04</c:v>
                </c:pt>
                <c:pt idx="5991">
                  <c:v>24.59</c:v>
                </c:pt>
                <c:pt idx="5992">
                  <c:v>26.39</c:v>
                </c:pt>
                <c:pt idx="5993">
                  <c:v>22.29</c:v>
                </c:pt>
                <c:pt idx="5994">
                  <c:v>41.660000000000011</c:v>
                </c:pt>
                <c:pt idx="5995">
                  <c:v>27.32</c:v>
                </c:pt>
                <c:pt idx="5996">
                  <c:v>42.04</c:v>
                </c:pt>
                <c:pt idx="5997">
                  <c:v>38.85</c:v>
                </c:pt>
                <c:pt idx="5998">
                  <c:v>44.620000000000012</c:v>
                </c:pt>
                <c:pt idx="5999">
                  <c:v>55</c:v>
                </c:pt>
                <c:pt idx="6000">
                  <c:v>22.979999999999986</c:v>
                </c:pt>
                <c:pt idx="6001">
                  <c:v>28.73</c:v>
                </c:pt>
                <c:pt idx="6002">
                  <c:v>36.130000000000003</c:v>
                </c:pt>
                <c:pt idx="6003">
                  <c:v>27.97</c:v>
                </c:pt>
                <c:pt idx="6004">
                  <c:v>27.110000000000021</c:v>
                </c:pt>
                <c:pt idx="6005">
                  <c:v>44.95</c:v>
                </c:pt>
                <c:pt idx="6006">
                  <c:v>27.41</c:v>
                </c:pt>
                <c:pt idx="6007">
                  <c:v>47.94</c:v>
                </c:pt>
                <c:pt idx="6008">
                  <c:v>49.7</c:v>
                </c:pt>
                <c:pt idx="6009">
                  <c:v>28.07</c:v>
                </c:pt>
                <c:pt idx="6010">
                  <c:v>29.459999999999987</c:v>
                </c:pt>
                <c:pt idx="6011">
                  <c:v>27.85</c:v>
                </c:pt>
                <c:pt idx="6012">
                  <c:v>39.04</c:v>
                </c:pt>
                <c:pt idx="6013">
                  <c:v>28.09</c:v>
                </c:pt>
                <c:pt idx="6014">
                  <c:v>39.94</c:v>
                </c:pt>
                <c:pt idx="6015">
                  <c:v>40.86</c:v>
                </c:pt>
                <c:pt idx="6016">
                  <c:v>27.43</c:v>
                </c:pt>
                <c:pt idx="6017">
                  <c:v>17.03</c:v>
                </c:pt>
                <c:pt idx="6018">
                  <c:v>39.700000000000003</c:v>
                </c:pt>
                <c:pt idx="6019">
                  <c:v>26.22</c:v>
                </c:pt>
                <c:pt idx="6020">
                  <c:v>24.85</c:v>
                </c:pt>
                <c:pt idx="6021">
                  <c:v>31.99</c:v>
                </c:pt>
                <c:pt idx="6022">
                  <c:v>51.37</c:v>
                </c:pt>
                <c:pt idx="6023">
                  <c:v>16.829999999999988</c:v>
                </c:pt>
                <c:pt idx="6024">
                  <c:v>27.71</c:v>
                </c:pt>
                <c:pt idx="6025">
                  <c:v>18.149999999999999</c:v>
                </c:pt>
                <c:pt idx="6026">
                  <c:v>39.9</c:v>
                </c:pt>
                <c:pt idx="6027">
                  <c:v>40.98</c:v>
                </c:pt>
                <c:pt idx="6028">
                  <c:v>40.07</c:v>
                </c:pt>
                <c:pt idx="6029">
                  <c:v>24.95</c:v>
                </c:pt>
                <c:pt idx="6030">
                  <c:v>54.91</c:v>
                </c:pt>
                <c:pt idx="6031">
                  <c:v>41.9</c:v>
                </c:pt>
                <c:pt idx="6032">
                  <c:v>45.78</c:v>
                </c:pt>
                <c:pt idx="6033">
                  <c:v>26.69</c:v>
                </c:pt>
                <c:pt idx="6034">
                  <c:v>35.1</c:v>
                </c:pt>
                <c:pt idx="6035">
                  <c:v>28.479999999999986</c:v>
                </c:pt>
                <c:pt idx="6036">
                  <c:v>54.95</c:v>
                </c:pt>
                <c:pt idx="6037">
                  <c:v>35.64</c:v>
                </c:pt>
                <c:pt idx="6038">
                  <c:v>35.290000000000013</c:v>
                </c:pt>
                <c:pt idx="6039">
                  <c:v>27.03</c:v>
                </c:pt>
                <c:pt idx="6040">
                  <c:v>49.1</c:v>
                </c:pt>
                <c:pt idx="6041">
                  <c:v>38.160000000000011</c:v>
                </c:pt>
                <c:pt idx="6042">
                  <c:v>33.67</c:v>
                </c:pt>
                <c:pt idx="6043">
                  <c:v>41.92</c:v>
                </c:pt>
                <c:pt idx="6044">
                  <c:v>23.08</c:v>
                </c:pt>
                <c:pt idx="6045">
                  <c:v>29.43</c:v>
                </c:pt>
                <c:pt idx="6046">
                  <c:v>48.07</c:v>
                </c:pt>
                <c:pt idx="6047">
                  <c:v>39.46</c:v>
                </c:pt>
                <c:pt idx="6048">
                  <c:v>36.230000000000011</c:v>
                </c:pt>
                <c:pt idx="6049">
                  <c:v>28</c:v>
                </c:pt>
                <c:pt idx="6050">
                  <c:v>28.2</c:v>
                </c:pt>
                <c:pt idx="6051">
                  <c:v>31.67</c:v>
                </c:pt>
                <c:pt idx="6052">
                  <c:v>16.260000000000002</c:v>
                </c:pt>
                <c:pt idx="6053">
                  <c:v>46.99</c:v>
                </c:pt>
                <c:pt idx="6054">
                  <c:v>48.02</c:v>
                </c:pt>
                <c:pt idx="6055">
                  <c:v>23.4</c:v>
                </c:pt>
                <c:pt idx="6056">
                  <c:v>32.6</c:v>
                </c:pt>
                <c:pt idx="6057">
                  <c:v>46.95</c:v>
                </c:pt>
                <c:pt idx="6058">
                  <c:v>22.34</c:v>
                </c:pt>
                <c:pt idx="6059">
                  <c:v>28.759999999999987</c:v>
                </c:pt>
                <c:pt idx="6060">
                  <c:v>48.53</c:v>
                </c:pt>
                <c:pt idx="6061">
                  <c:v>30.81000000000002</c:v>
                </c:pt>
                <c:pt idx="6062">
                  <c:v>22.71</c:v>
                </c:pt>
                <c:pt idx="6063">
                  <c:v>26.479999999999986</c:v>
                </c:pt>
                <c:pt idx="6064">
                  <c:v>48.94</c:v>
                </c:pt>
                <c:pt idx="6065">
                  <c:v>49.88</c:v>
                </c:pt>
                <c:pt idx="6066">
                  <c:v>26.04</c:v>
                </c:pt>
                <c:pt idx="6067">
                  <c:v>11.94</c:v>
                </c:pt>
                <c:pt idx="6068">
                  <c:v>30.03</c:v>
                </c:pt>
                <c:pt idx="6069">
                  <c:v>22.22</c:v>
                </c:pt>
                <c:pt idx="6070">
                  <c:v>47.91</c:v>
                </c:pt>
                <c:pt idx="6071">
                  <c:v>33.94</c:v>
                </c:pt>
                <c:pt idx="6072">
                  <c:v>44.94</c:v>
                </c:pt>
                <c:pt idx="6073">
                  <c:v>44.620000000000012</c:v>
                </c:pt>
                <c:pt idx="6074">
                  <c:v>25.08</c:v>
                </c:pt>
                <c:pt idx="6075">
                  <c:v>38</c:v>
                </c:pt>
                <c:pt idx="6076">
                  <c:v>46.95</c:v>
                </c:pt>
                <c:pt idx="6077">
                  <c:v>34.46</c:v>
                </c:pt>
                <c:pt idx="6078">
                  <c:v>21.3</c:v>
                </c:pt>
                <c:pt idx="6079">
                  <c:v>30.07</c:v>
                </c:pt>
                <c:pt idx="6080">
                  <c:v>38.39</c:v>
                </c:pt>
                <c:pt idx="6081">
                  <c:v>48.57</c:v>
                </c:pt>
                <c:pt idx="6082">
                  <c:v>40.910000000000004</c:v>
                </c:pt>
                <c:pt idx="6083">
                  <c:v>38.840000000000003</c:v>
                </c:pt>
                <c:pt idx="6084">
                  <c:v>29.479999999999986</c:v>
                </c:pt>
                <c:pt idx="6085">
                  <c:v>25.91</c:v>
                </c:pt>
                <c:pt idx="6086">
                  <c:v>30.07</c:v>
                </c:pt>
                <c:pt idx="6087">
                  <c:v>24.75</c:v>
                </c:pt>
                <c:pt idx="6088">
                  <c:v>28.24</c:v>
                </c:pt>
                <c:pt idx="6089">
                  <c:v>43.18</c:v>
                </c:pt>
                <c:pt idx="6090">
                  <c:v>35.94</c:v>
                </c:pt>
                <c:pt idx="6091">
                  <c:v>27.91</c:v>
                </c:pt>
                <c:pt idx="6092">
                  <c:v>33.39</c:v>
                </c:pt>
                <c:pt idx="6093">
                  <c:v>49.230000000000011</c:v>
                </c:pt>
                <c:pt idx="6094">
                  <c:v>48.99</c:v>
                </c:pt>
                <c:pt idx="6095">
                  <c:v>40.6</c:v>
                </c:pt>
                <c:pt idx="6096">
                  <c:v>39.800000000000004</c:v>
                </c:pt>
                <c:pt idx="6097">
                  <c:v>26.4</c:v>
                </c:pt>
                <c:pt idx="6098">
                  <c:v>34.96</c:v>
                </c:pt>
                <c:pt idx="6099">
                  <c:v>52.760000000000012</c:v>
                </c:pt>
                <c:pt idx="6100">
                  <c:v>17.79</c:v>
                </c:pt>
                <c:pt idx="6101">
                  <c:v>31.99</c:v>
                </c:pt>
                <c:pt idx="6102">
                  <c:v>38.190000000000012</c:v>
                </c:pt>
                <c:pt idx="6103">
                  <c:v>44.98</c:v>
                </c:pt>
                <c:pt idx="6104">
                  <c:v>44.97</c:v>
                </c:pt>
                <c:pt idx="6105">
                  <c:v>29.68</c:v>
                </c:pt>
                <c:pt idx="6106">
                  <c:v>39.92</c:v>
                </c:pt>
                <c:pt idx="6107">
                  <c:v>29.459999999999987</c:v>
                </c:pt>
                <c:pt idx="6108">
                  <c:v>16.309999999999999</c:v>
                </c:pt>
                <c:pt idx="6109">
                  <c:v>38.380000000000003</c:v>
                </c:pt>
                <c:pt idx="6110">
                  <c:v>28.03</c:v>
                </c:pt>
                <c:pt idx="6111">
                  <c:v>28.53</c:v>
                </c:pt>
                <c:pt idx="6112">
                  <c:v>19.88</c:v>
                </c:pt>
                <c:pt idx="6113">
                  <c:v>26.93</c:v>
                </c:pt>
                <c:pt idx="6114">
                  <c:v>30.4</c:v>
                </c:pt>
                <c:pt idx="6115">
                  <c:v>29.979999999999986</c:v>
                </c:pt>
                <c:pt idx="6116">
                  <c:v>50.04</c:v>
                </c:pt>
                <c:pt idx="6117">
                  <c:v>43.17</c:v>
                </c:pt>
                <c:pt idx="6118">
                  <c:v>23.58</c:v>
                </c:pt>
                <c:pt idx="6119">
                  <c:v>32.06</c:v>
                </c:pt>
                <c:pt idx="6120">
                  <c:v>41.160000000000011</c:v>
                </c:pt>
                <c:pt idx="6121">
                  <c:v>43.53</c:v>
                </c:pt>
                <c:pt idx="6122">
                  <c:v>23.05</c:v>
                </c:pt>
                <c:pt idx="6123">
                  <c:v>25.2</c:v>
                </c:pt>
                <c:pt idx="6124">
                  <c:v>29.37</c:v>
                </c:pt>
                <c:pt idx="6125">
                  <c:v>84.940000000000026</c:v>
                </c:pt>
                <c:pt idx="6126">
                  <c:v>39.96</c:v>
                </c:pt>
                <c:pt idx="6127">
                  <c:v>26.03</c:v>
                </c:pt>
                <c:pt idx="6128">
                  <c:v>38.980000000000004</c:v>
                </c:pt>
                <c:pt idx="6129">
                  <c:v>45.92</c:v>
                </c:pt>
                <c:pt idx="6130">
                  <c:v>43.94</c:v>
                </c:pt>
                <c:pt idx="6131">
                  <c:v>27.86</c:v>
                </c:pt>
                <c:pt idx="6132">
                  <c:v>40.1</c:v>
                </c:pt>
                <c:pt idx="6133">
                  <c:v>25.5</c:v>
                </c:pt>
                <c:pt idx="6134">
                  <c:v>31.51</c:v>
                </c:pt>
                <c:pt idx="6135">
                  <c:v>36.96</c:v>
                </c:pt>
                <c:pt idx="6136">
                  <c:v>26.53</c:v>
                </c:pt>
                <c:pt idx="6137">
                  <c:v>43.220000000000013</c:v>
                </c:pt>
                <c:pt idx="6138">
                  <c:v>24.35</c:v>
                </c:pt>
                <c:pt idx="6139">
                  <c:v>28.7</c:v>
                </c:pt>
                <c:pt idx="6140">
                  <c:v>25.41</c:v>
                </c:pt>
                <c:pt idx="6141">
                  <c:v>44</c:v>
                </c:pt>
                <c:pt idx="6142">
                  <c:v>46.2</c:v>
                </c:pt>
                <c:pt idx="6143">
                  <c:v>16.979999999999986</c:v>
                </c:pt>
                <c:pt idx="6144">
                  <c:v>22.81000000000002</c:v>
                </c:pt>
                <c:pt idx="6145">
                  <c:v>33.1</c:v>
                </c:pt>
                <c:pt idx="6146">
                  <c:v>36.620000000000012</c:v>
                </c:pt>
                <c:pt idx="6147">
                  <c:v>31.91</c:v>
                </c:pt>
                <c:pt idx="6148">
                  <c:v>38.46</c:v>
                </c:pt>
                <c:pt idx="6149">
                  <c:v>28.12</c:v>
                </c:pt>
                <c:pt idx="6150">
                  <c:v>27.5</c:v>
                </c:pt>
                <c:pt idx="6151">
                  <c:v>25.13000000000002</c:v>
                </c:pt>
                <c:pt idx="6152">
                  <c:v>31.64</c:v>
                </c:pt>
                <c:pt idx="6153">
                  <c:v>43.07</c:v>
                </c:pt>
                <c:pt idx="6154">
                  <c:v>38.200000000000003</c:v>
                </c:pt>
                <c:pt idx="6155">
                  <c:v>27.07</c:v>
                </c:pt>
                <c:pt idx="6156">
                  <c:v>23.19</c:v>
                </c:pt>
                <c:pt idx="6157">
                  <c:v>31.84</c:v>
                </c:pt>
                <c:pt idx="6158">
                  <c:v>47.32</c:v>
                </c:pt>
                <c:pt idx="6159">
                  <c:v>48.81</c:v>
                </c:pt>
                <c:pt idx="6160">
                  <c:v>32</c:v>
                </c:pt>
                <c:pt idx="6161">
                  <c:v>58.790000000000013</c:v>
                </c:pt>
                <c:pt idx="6162">
                  <c:v>64.06</c:v>
                </c:pt>
                <c:pt idx="6163">
                  <c:v>16.739999999999988</c:v>
                </c:pt>
                <c:pt idx="6164">
                  <c:v>24.7</c:v>
                </c:pt>
                <c:pt idx="6165">
                  <c:v>25.779999999999987</c:v>
                </c:pt>
                <c:pt idx="6166">
                  <c:v>29.99</c:v>
                </c:pt>
                <c:pt idx="6167">
                  <c:v>21.09</c:v>
                </c:pt>
                <c:pt idx="6168">
                  <c:v>40.97</c:v>
                </c:pt>
                <c:pt idx="6169">
                  <c:v>37.910000000000004</c:v>
                </c:pt>
                <c:pt idx="6170">
                  <c:v>42.46</c:v>
                </c:pt>
                <c:pt idx="6171">
                  <c:v>36.980000000000004</c:v>
                </c:pt>
                <c:pt idx="6172">
                  <c:v>35.04</c:v>
                </c:pt>
                <c:pt idx="6173">
                  <c:v>30.03</c:v>
                </c:pt>
                <c:pt idx="6174">
                  <c:v>25.4</c:v>
                </c:pt>
                <c:pt idx="6175">
                  <c:v>29.68</c:v>
                </c:pt>
                <c:pt idx="6176">
                  <c:v>59.87</c:v>
                </c:pt>
                <c:pt idx="6177">
                  <c:v>29.57</c:v>
                </c:pt>
                <c:pt idx="6178">
                  <c:v>12</c:v>
                </c:pt>
                <c:pt idx="6179">
                  <c:v>27.919999999999987</c:v>
                </c:pt>
                <c:pt idx="6180">
                  <c:v>34.270000000000003</c:v>
                </c:pt>
                <c:pt idx="6181">
                  <c:v>26.08</c:v>
                </c:pt>
                <c:pt idx="6182">
                  <c:v>39.94</c:v>
                </c:pt>
                <c:pt idx="6183">
                  <c:v>45.47</c:v>
                </c:pt>
                <c:pt idx="6184">
                  <c:v>33.64</c:v>
                </c:pt>
                <c:pt idx="6185">
                  <c:v>28.05</c:v>
                </c:pt>
                <c:pt idx="6186">
                  <c:v>50.4</c:v>
                </c:pt>
                <c:pt idx="6187">
                  <c:v>51.7</c:v>
                </c:pt>
                <c:pt idx="6188">
                  <c:v>31.12</c:v>
                </c:pt>
                <c:pt idx="6189">
                  <c:v>32.090000000000003</c:v>
                </c:pt>
                <c:pt idx="6190">
                  <c:v>28.08</c:v>
                </c:pt>
                <c:pt idx="6191">
                  <c:v>26.73</c:v>
                </c:pt>
                <c:pt idx="6192">
                  <c:v>36.520000000000003</c:v>
                </c:pt>
                <c:pt idx="6193">
                  <c:v>38.96</c:v>
                </c:pt>
                <c:pt idx="6194">
                  <c:v>37.880000000000003</c:v>
                </c:pt>
                <c:pt idx="6195">
                  <c:v>49.760000000000012</c:v>
                </c:pt>
                <c:pt idx="6196">
                  <c:v>25.56</c:v>
                </c:pt>
                <c:pt idx="6197">
                  <c:v>38.06</c:v>
                </c:pt>
                <c:pt idx="6198">
                  <c:v>32.880000000000003</c:v>
                </c:pt>
                <c:pt idx="6199">
                  <c:v>39.9</c:v>
                </c:pt>
                <c:pt idx="6200">
                  <c:v>28.5</c:v>
                </c:pt>
                <c:pt idx="6201">
                  <c:v>50.1</c:v>
                </c:pt>
                <c:pt idx="6202">
                  <c:v>36.43</c:v>
                </c:pt>
                <c:pt idx="6203">
                  <c:v>27.8</c:v>
                </c:pt>
                <c:pt idx="6204">
                  <c:v>43.47</c:v>
                </c:pt>
                <c:pt idx="6205">
                  <c:v>25.45</c:v>
                </c:pt>
                <c:pt idx="6206">
                  <c:v>57.59</c:v>
                </c:pt>
                <c:pt idx="6207">
                  <c:v>33.200000000000003</c:v>
                </c:pt>
                <c:pt idx="6208">
                  <c:v>50.52</c:v>
                </c:pt>
                <c:pt idx="6209">
                  <c:v>25.91</c:v>
                </c:pt>
                <c:pt idx="6210">
                  <c:v>47.52</c:v>
                </c:pt>
                <c:pt idx="6211">
                  <c:v>34.590000000000003</c:v>
                </c:pt>
                <c:pt idx="6212">
                  <c:v>30.439999999999987</c:v>
                </c:pt>
                <c:pt idx="6213">
                  <c:v>31</c:v>
                </c:pt>
                <c:pt idx="6214">
                  <c:v>50</c:v>
                </c:pt>
                <c:pt idx="6215">
                  <c:v>47.01</c:v>
                </c:pt>
                <c:pt idx="6216">
                  <c:v>36.980000000000004</c:v>
                </c:pt>
                <c:pt idx="6217">
                  <c:v>53.87</c:v>
                </c:pt>
                <c:pt idx="6218">
                  <c:v>49.99</c:v>
                </c:pt>
                <c:pt idx="6219">
                  <c:v>42</c:v>
                </c:pt>
                <c:pt idx="6220">
                  <c:v>28.79</c:v>
                </c:pt>
                <c:pt idx="6221">
                  <c:v>40.050000000000004</c:v>
                </c:pt>
                <c:pt idx="6222">
                  <c:v>36.46</c:v>
                </c:pt>
                <c:pt idx="6223">
                  <c:v>44.48</c:v>
                </c:pt>
                <c:pt idx="6224">
                  <c:v>42.02</c:v>
                </c:pt>
                <c:pt idx="6225">
                  <c:v>30.54</c:v>
                </c:pt>
                <c:pt idx="6226">
                  <c:v>42</c:v>
                </c:pt>
                <c:pt idx="6227">
                  <c:v>27.18</c:v>
                </c:pt>
                <c:pt idx="6228">
                  <c:v>70.38</c:v>
                </c:pt>
                <c:pt idx="6229">
                  <c:v>32.97</c:v>
                </c:pt>
                <c:pt idx="6230">
                  <c:v>40.49</c:v>
                </c:pt>
                <c:pt idx="6231">
                  <c:v>25.49</c:v>
                </c:pt>
                <c:pt idx="6232">
                  <c:v>51.95</c:v>
                </c:pt>
                <c:pt idx="6233">
                  <c:v>37.94</c:v>
                </c:pt>
                <c:pt idx="6234">
                  <c:v>26.9</c:v>
                </c:pt>
                <c:pt idx="6235">
                  <c:v>29.53</c:v>
                </c:pt>
                <c:pt idx="6236">
                  <c:v>16.3</c:v>
                </c:pt>
                <c:pt idx="6237">
                  <c:v>25.55</c:v>
                </c:pt>
                <c:pt idx="6238">
                  <c:v>35.200000000000003</c:v>
                </c:pt>
                <c:pt idx="6239">
                  <c:v>60.15</c:v>
                </c:pt>
                <c:pt idx="6240">
                  <c:v>23.75</c:v>
                </c:pt>
                <c:pt idx="6241">
                  <c:v>46.87</c:v>
                </c:pt>
                <c:pt idx="6242">
                  <c:v>34.31</c:v>
                </c:pt>
                <c:pt idx="6243">
                  <c:v>31.759999999999987</c:v>
                </c:pt>
                <c:pt idx="6244">
                  <c:v>42.14</c:v>
                </c:pt>
                <c:pt idx="6245">
                  <c:v>17.899999999999999</c:v>
                </c:pt>
                <c:pt idx="6246">
                  <c:v>12.02</c:v>
                </c:pt>
                <c:pt idx="6247">
                  <c:v>39.96</c:v>
                </c:pt>
                <c:pt idx="6248">
                  <c:v>48.260000000000012</c:v>
                </c:pt>
                <c:pt idx="6249">
                  <c:v>36.120000000000012</c:v>
                </c:pt>
                <c:pt idx="6250">
                  <c:v>40.090000000000003</c:v>
                </c:pt>
                <c:pt idx="6251">
                  <c:v>32.300000000000004</c:v>
                </c:pt>
                <c:pt idx="6252">
                  <c:v>37.08</c:v>
                </c:pt>
                <c:pt idx="6253">
                  <c:v>24.91</c:v>
                </c:pt>
                <c:pt idx="6254">
                  <c:v>34.950000000000003</c:v>
                </c:pt>
                <c:pt idx="6255">
                  <c:v>25.259999999999987</c:v>
                </c:pt>
                <c:pt idx="6256">
                  <c:v>47.51</c:v>
                </c:pt>
                <c:pt idx="6257">
                  <c:v>65</c:v>
                </c:pt>
                <c:pt idx="6258">
                  <c:v>33.46</c:v>
                </c:pt>
                <c:pt idx="6259">
                  <c:v>43.98</c:v>
                </c:pt>
                <c:pt idx="6260">
                  <c:v>29.47</c:v>
                </c:pt>
                <c:pt idx="6261">
                  <c:v>31.4</c:v>
                </c:pt>
                <c:pt idx="6262">
                  <c:v>42.97</c:v>
                </c:pt>
                <c:pt idx="6263">
                  <c:v>42.01</c:v>
                </c:pt>
                <c:pt idx="6264">
                  <c:v>43.37</c:v>
                </c:pt>
                <c:pt idx="6265">
                  <c:v>14.5</c:v>
                </c:pt>
                <c:pt idx="6266">
                  <c:v>30.959999999999987</c:v>
                </c:pt>
                <c:pt idx="6267">
                  <c:v>18.829999999999988</c:v>
                </c:pt>
                <c:pt idx="6268">
                  <c:v>41.02</c:v>
                </c:pt>
                <c:pt idx="6269">
                  <c:v>27.330000000000005</c:v>
                </c:pt>
                <c:pt idx="6270">
                  <c:v>48.760000000000012</c:v>
                </c:pt>
                <c:pt idx="6271">
                  <c:v>43.45</c:v>
                </c:pt>
                <c:pt idx="6272">
                  <c:v>40.03</c:v>
                </c:pt>
                <c:pt idx="6273">
                  <c:v>37.04</c:v>
                </c:pt>
                <c:pt idx="6274">
                  <c:v>53.37</c:v>
                </c:pt>
                <c:pt idx="6275">
                  <c:v>25.99</c:v>
                </c:pt>
                <c:pt idx="6276">
                  <c:v>38.97</c:v>
                </c:pt>
                <c:pt idx="6277">
                  <c:v>44.14</c:v>
                </c:pt>
                <c:pt idx="6278">
                  <c:v>36.340000000000003</c:v>
                </c:pt>
                <c:pt idx="6279">
                  <c:v>26.479999999999986</c:v>
                </c:pt>
                <c:pt idx="6280">
                  <c:v>30.1</c:v>
                </c:pt>
                <c:pt idx="6281">
                  <c:v>25.18</c:v>
                </c:pt>
                <c:pt idx="6282">
                  <c:v>37.550000000000004</c:v>
                </c:pt>
                <c:pt idx="6283">
                  <c:v>38.950000000000003</c:v>
                </c:pt>
                <c:pt idx="6284">
                  <c:v>27.02</c:v>
                </c:pt>
                <c:pt idx="6285">
                  <c:v>55.17</c:v>
                </c:pt>
                <c:pt idx="6286">
                  <c:v>33.31</c:v>
                </c:pt>
                <c:pt idx="6287">
                  <c:v>25.99</c:v>
                </c:pt>
                <c:pt idx="6288">
                  <c:v>24.259999999999987</c:v>
                </c:pt>
                <c:pt idx="6289">
                  <c:v>30.73</c:v>
                </c:pt>
                <c:pt idx="6290">
                  <c:v>55.07</c:v>
                </c:pt>
                <c:pt idx="6291">
                  <c:v>47.36</c:v>
                </c:pt>
                <c:pt idx="6292">
                  <c:v>25.88</c:v>
                </c:pt>
                <c:pt idx="6293">
                  <c:v>26.13000000000002</c:v>
                </c:pt>
                <c:pt idx="6294">
                  <c:v>57.690000000000012</c:v>
                </c:pt>
                <c:pt idx="6295">
                  <c:v>37.96</c:v>
                </c:pt>
                <c:pt idx="6296">
                  <c:v>30.79</c:v>
                </c:pt>
                <c:pt idx="6297">
                  <c:v>24.07</c:v>
                </c:pt>
                <c:pt idx="6298">
                  <c:v>55.77</c:v>
                </c:pt>
                <c:pt idx="6299">
                  <c:v>47.38</c:v>
                </c:pt>
                <c:pt idx="6300">
                  <c:v>24.01</c:v>
                </c:pt>
                <c:pt idx="6301">
                  <c:v>51.54</c:v>
                </c:pt>
                <c:pt idx="6302">
                  <c:v>55.17</c:v>
                </c:pt>
                <c:pt idx="6303">
                  <c:v>44.8</c:v>
                </c:pt>
                <c:pt idx="6304">
                  <c:v>30.66</c:v>
                </c:pt>
                <c:pt idx="6305">
                  <c:v>24.04</c:v>
                </c:pt>
                <c:pt idx="6306">
                  <c:v>29.67</c:v>
                </c:pt>
                <c:pt idx="6307">
                  <c:v>21.7</c:v>
                </c:pt>
                <c:pt idx="6308">
                  <c:v>40.49</c:v>
                </c:pt>
                <c:pt idx="6309">
                  <c:v>26.14</c:v>
                </c:pt>
                <c:pt idx="6310">
                  <c:v>39.720000000000013</c:v>
                </c:pt>
                <c:pt idx="6311">
                  <c:v>39.92</c:v>
                </c:pt>
                <c:pt idx="6312">
                  <c:v>32.24</c:v>
                </c:pt>
                <c:pt idx="6313">
                  <c:v>50</c:v>
                </c:pt>
                <c:pt idx="6314">
                  <c:v>38.54</c:v>
                </c:pt>
                <c:pt idx="6315">
                  <c:v>29.93</c:v>
                </c:pt>
                <c:pt idx="6316">
                  <c:v>46.99</c:v>
                </c:pt>
                <c:pt idx="6317">
                  <c:v>27.91</c:v>
                </c:pt>
                <c:pt idx="6318">
                  <c:v>23.97</c:v>
                </c:pt>
                <c:pt idx="6319">
                  <c:v>22.86</c:v>
                </c:pt>
                <c:pt idx="6320">
                  <c:v>35.160000000000011</c:v>
                </c:pt>
                <c:pt idx="6321">
                  <c:v>45.120000000000012</c:v>
                </c:pt>
                <c:pt idx="6322">
                  <c:v>51</c:v>
                </c:pt>
                <c:pt idx="6323">
                  <c:v>23.3</c:v>
                </c:pt>
                <c:pt idx="6324">
                  <c:v>45.97</c:v>
                </c:pt>
                <c:pt idx="6325">
                  <c:v>20.420000000000002</c:v>
                </c:pt>
                <c:pt idx="6326">
                  <c:v>27.939999999999987</c:v>
                </c:pt>
                <c:pt idx="6327">
                  <c:v>25.49</c:v>
                </c:pt>
                <c:pt idx="6328">
                  <c:v>40.96</c:v>
                </c:pt>
                <c:pt idx="6329">
                  <c:v>53.61</c:v>
                </c:pt>
                <c:pt idx="6330">
                  <c:v>41.57</c:v>
                </c:pt>
                <c:pt idx="6331">
                  <c:v>41.95</c:v>
                </c:pt>
                <c:pt idx="6332">
                  <c:v>26.4</c:v>
                </c:pt>
                <c:pt idx="6333">
                  <c:v>25.12</c:v>
                </c:pt>
                <c:pt idx="6334">
                  <c:v>43.08</c:v>
                </c:pt>
                <c:pt idx="6335">
                  <c:v>30.03</c:v>
                </c:pt>
                <c:pt idx="6336">
                  <c:v>60.83</c:v>
                </c:pt>
                <c:pt idx="6337">
                  <c:v>25.36</c:v>
                </c:pt>
                <c:pt idx="6338">
                  <c:v>42.05</c:v>
                </c:pt>
                <c:pt idx="6339">
                  <c:v>29.25</c:v>
                </c:pt>
                <c:pt idx="6340">
                  <c:v>33.1</c:v>
                </c:pt>
                <c:pt idx="6341">
                  <c:v>19.09</c:v>
                </c:pt>
                <c:pt idx="6342">
                  <c:v>32.300000000000004</c:v>
                </c:pt>
                <c:pt idx="6343">
                  <c:v>41.03</c:v>
                </c:pt>
                <c:pt idx="6344">
                  <c:v>66.14</c:v>
                </c:pt>
                <c:pt idx="6345">
                  <c:v>26.54</c:v>
                </c:pt>
                <c:pt idx="6346">
                  <c:v>49.25</c:v>
                </c:pt>
                <c:pt idx="6347">
                  <c:v>50.730000000000011</c:v>
                </c:pt>
                <c:pt idx="6348">
                  <c:v>47.85</c:v>
                </c:pt>
                <c:pt idx="6349">
                  <c:v>40.33</c:v>
                </c:pt>
                <c:pt idx="6350">
                  <c:v>53</c:v>
                </c:pt>
                <c:pt idx="6351">
                  <c:v>26.02</c:v>
                </c:pt>
                <c:pt idx="6352">
                  <c:v>48.46</c:v>
                </c:pt>
                <c:pt idx="6353">
                  <c:v>55.04</c:v>
                </c:pt>
                <c:pt idx="6354">
                  <c:v>31.07</c:v>
                </c:pt>
                <c:pt idx="6355">
                  <c:v>24.89</c:v>
                </c:pt>
                <c:pt idx="6356">
                  <c:v>14.03</c:v>
                </c:pt>
                <c:pt idx="6357">
                  <c:v>30.4</c:v>
                </c:pt>
                <c:pt idx="6358">
                  <c:v>27.1</c:v>
                </c:pt>
                <c:pt idx="6359">
                  <c:v>29.7</c:v>
                </c:pt>
                <c:pt idx="6360">
                  <c:v>40.56</c:v>
                </c:pt>
                <c:pt idx="6361">
                  <c:v>27.07</c:v>
                </c:pt>
                <c:pt idx="6362">
                  <c:v>51.94</c:v>
                </c:pt>
                <c:pt idx="6363">
                  <c:v>60.07</c:v>
                </c:pt>
                <c:pt idx="6364">
                  <c:v>34.980000000000004</c:v>
                </c:pt>
                <c:pt idx="6365">
                  <c:v>22.05</c:v>
                </c:pt>
                <c:pt idx="6366">
                  <c:v>29.02</c:v>
                </c:pt>
                <c:pt idx="6367">
                  <c:v>34.03</c:v>
                </c:pt>
                <c:pt idx="6368">
                  <c:v>38.04</c:v>
                </c:pt>
                <c:pt idx="6369">
                  <c:v>59.190000000000012</c:v>
                </c:pt>
                <c:pt idx="6370">
                  <c:v>24.77</c:v>
                </c:pt>
                <c:pt idx="6371">
                  <c:v>39.93</c:v>
                </c:pt>
                <c:pt idx="6372">
                  <c:v>40.800000000000004</c:v>
                </c:pt>
                <c:pt idx="6373">
                  <c:v>27.05</c:v>
                </c:pt>
                <c:pt idx="6374">
                  <c:v>28.17</c:v>
                </c:pt>
                <c:pt idx="6375">
                  <c:v>51.94</c:v>
                </c:pt>
                <c:pt idx="6376">
                  <c:v>27.8</c:v>
                </c:pt>
                <c:pt idx="6377">
                  <c:v>31.07</c:v>
                </c:pt>
                <c:pt idx="6378">
                  <c:v>38.99</c:v>
                </c:pt>
                <c:pt idx="6379">
                  <c:v>24.1</c:v>
                </c:pt>
                <c:pt idx="6380">
                  <c:v>31.06</c:v>
                </c:pt>
                <c:pt idx="6381">
                  <c:v>32.94</c:v>
                </c:pt>
                <c:pt idx="6382">
                  <c:v>34.21</c:v>
                </c:pt>
                <c:pt idx="6383">
                  <c:v>37.230000000000011</c:v>
                </c:pt>
                <c:pt idx="6384">
                  <c:v>61</c:v>
                </c:pt>
                <c:pt idx="6385">
                  <c:v>29.49</c:v>
                </c:pt>
                <c:pt idx="6386">
                  <c:v>31.610000000000021</c:v>
                </c:pt>
                <c:pt idx="6387">
                  <c:v>14.31</c:v>
                </c:pt>
                <c:pt idx="6388">
                  <c:v>27.1</c:v>
                </c:pt>
                <c:pt idx="6389">
                  <c:v>23.479999999999986</c:v>
                </c:pt>
                <c:pt idx="6390">
                  <c:v>26.31000000000002</c:v>
                </c:pt>
                <c:pt idx="6391">
                  <c:v>29.67</c:v>
                </c:pt>
                <c:pt idx="6392">
                  <c:v>38.910000000000004</c:v>
                </c:pt>
                <c:pt idx="6393">
                  <c:v>24.09</c:v>
                </c:pt>
                <c:pt idx="6394">
                  <c:v>27.95</c:v>
                </c:pt>
                <c:pt idx="6395">
                  <c:v>41.260000000000012</c:v>
                </c:pt>
                <c:pt idx="6396">
                  <c:v>39.97</c:v>
                </c:pt>
                <c:pt idx="6397">
                  <c:v>26.54</c:v>
                </c:pt>
                <c:pt idx="6398">
                  <c:v>28.75</c:v>
                </c:pt>
                <c:pt idx="6399">
                  <c:v>40.050000000000004</c:v>
                </c:pt>
                <c:pt idx="6400">
                  <c:v>25.13000000000002</c:v>
                </c:pt>
                <c:pt idx="6401">
                  <c:v>33.44</c:v>
                </c:pt>
                <c:pt idx="6402">
                  <c:v>46.92</c:v>
                </c:pt>
                <c:pt idx="6403">
                  <c:v>39.58</c:v>
                </c:pt>
                <c:pt idx="6404">
                  <c:v>24.02</c:v>
                </c:pt>
                <c:pt idx="6405">
                  <c:v>28.19</c:v>
                </c:pt>
                <c:pt idx="6406">
                  <c:v>22.47</c:v>
                </c:pt>
                <c:pt idx="6407">
                  <c:v>36.92</c:v>
                </c:pt>
                <c:pt idx="6408">
                  <c:v>32.08</c:v>
                </c:pt>
                <c:pt idx="6409">
                  <c:v>29.9</c:v>
                </c:pt>
                <c:pt idx="6410">
                  <c:v>49.120000000000012</c:v>
                </c:pt>
                <c:pt idx="6411">
                  <c:v>31.09</c:v>
                </c:pt>
                <c:pt idx="6412">
                  <c:v>29.5</c:v>
                </c:pt>
                <c:pt idx="6413">
                  <c:v>45.01</c:v>
                </c:pt>
                <c:pt idx="6414">
                  <c:v>48.05</c:v>
                </c:pt>
                <c:pt idx="6415">
                  <c:v>49.54</c:v>
                </c:pt>
                <c:pt idx="6416">
                  <c:v>48.13</c:v>
                </c:pt>
                <c:pt idx="6417">
                  <c:v>31.95</c:v>
                </c:pt>
                <c:pt idx="6418">
                  <c:v>33.790000000000013</c:v>
                </c:pt>
                <c:pt idx="6419">
                  <c:v>47.97</c:v>
                </c:pt>
                <c:pt idx="6420">
                  <c:v>26.53</c:v>
                </c:pt>
                <c:pt idx="6421">
                  <c:v>29.1</c:v>
                </c:pt>
                <c:pt idx="6422">
                  <c:v>18.260000000000002</c:v>
                </c:pt>
                <c:pt idx="6423">
                  <c:v>27.84</c:v>
                </c:pt>
                <c:pt idx="6424">
                  <c:v>24.74</c:v>
                </c:pt>
                <c:pt idx="6425">
                  <c:v>39.910000000000004</c:v>
                </c:pt>
                <c:pt idx="6426">
                  <c:v>23.779999999999987</c:v>
                </c:pt>
                <c:pt idx="6427">
                  <c:v>34.96</c:v>
                </c:pt>
                <c:pt idx="6428">
                  <c:v>46.95</c:v>
                </c:pt>
                <c:pt idx="6429">
                  <c:v>50.86</c:v>
                </c:pt>
                <c:pt idx="6430">
                  <c:v>46.690000000000012</c:v>
                </c:pt>
                <c:pt idx="6431">
                  <c:v>29.62</c:v>
                </c:pt>
                <c:pt idx="6432">
                  <c:v>36.130000000000003</c:v>
                </c:pt>
                <c:pt idx="6433">
                  <c:v>24.06</c:v>
                </c:pt>
                <c:pt idx="6434">
                  <c:v>13</c:v>
                </c:pt>
                <c:pt idx="6435">
                  <c:v>29.62</c:v>
                </c:pt>
                <c:pt idx="6436">
                  <c:v>25.37</c:v>
                </c:pt>
                <c:pt idx="6437">
                  <c:v>29.51</c:v>
                </c:pt>
                <c:pt idx="6438">
                  <c:v>28.01</c:v>
                </c:pt>
                <c:pt idx="6439">
                  <c:v>23.04</c:v>
                </c:pt>
                <c:pt idx="6440">
                  <c:v>51.43</c:v>
                </c:pt>
                <c:pt idx="6441">
                  <c:v>34.950000000000003</c:v>
                </c:pt>
                <c:pt idx="6442">
                  <c:v>52.55</c:v>
                </c:pt>
                <c:pt idx="6443">
                  <c:v>29.959999999999987</c:v>
                </c:pt>
                <c:pt idx="6444">
                  <c:v>65.989999999999995</c:v>
                </c:pt>
                <c:pt idx="6445">
                  <c:v>25.419999999999987</c:v>
                </c:pt>
                <c:pt idx="6446">
                  <c:v>30.01</c:v>
                </c:pt>
                <c:pt idx="6447">
                  <c:v>43.95</c:v>
                </c:pt>
                <c:pt idx="6448">
                  <c:v>15.33</c:v>
                </c:pt>
                <c:pt idx="6449">
                  <c:v>47.98</c:v>
                </c:pt>
                <c:pt idx="6450">
                  <c:v>14.66</c:v>
                </c:pt>
                <c:pt idx="6451">
                  <c:v>25.18</c:v>
                </c:pt>
                <c:pt idx="6452">
                  <c:v>22.14</c:v>
                </c:pt>
                <c:pt idx="6453">
                  <c:v>32.15</c:v>
                </c:pt>
                <c:pt idx="6454">
                  <c:v>31.22</c:v>
                </c:pt>
                <c:pt idx="6455">
                  <c:v>46.77</c:v>
                </c:pt>
                <c:pt idx="6456">
                  <c:v>53.43</c:v>
                </c:pt>
                <c:pt idx="6457">
                  <c:v>22.56</c:v>
                </c:pt>
                <c:pt idx="6458">
                  <c:v>30.82</c:v>
                </c:pt>
                <c:pt idx="6459">
                  <c:v>39.260000000000012</c:v>
                </c:pt>
                <c:pt idx="6460">
                  <c:v>35.5</c:v>
                </c:pt>
                <c:pt idx="6461">
                  <c:v>33.58</c:v>
                </c:pt>
                <c:pt idx="6462">
                  <c:v>48.07</c:v>
                </c:pt>
                <c:pt idx="6463">
                  <c:v>21.87</c:v>
                </c:pt>
                <c:pt idx="6464">
                  <c:v>24.919999999999987</c:v>
                </c:pt>
                <c:pt idx="6465">
                  <c:v>29.71</c:v>
                </c:pt>
                <c:pt idx="6466">
                  <c:v>61.96</c:v>
                </c:pt>
                <c:pt idx="6467">
                  <c:v>42.02</c:v>
                </c:pt>
                <c:pt idx="6468">
                  <c:v>65.989999999999995</c:v>
                </c:pt>
                <c:pt idx="6469">
                  <c:v>54.01</c:v>
                </c:pt>
                <c:pt idx="6470">
                  <c:v>24.74</c:v>
                </c:pt>
                <c:pt idx="6471">
                  <c:v>44.74</c:v>
                </c:pt>
                <c:pt idx="6472">
                  <c:v>21.55</c:v>
                </c:pt>
                <c:pt idx="6473">
                  <c:v>27.939999999999987</c:v>
                </c:pt>
                <c:pt idx="6474">
                  <c:v>30.06</c:v>
                </c:pt>
                <c:pt idx="6475">
                  <c:v>23.49</c:v>
                </c:pt>
                <c:pt idx="6476">
                  <c:v>32.89</c:v>
                </c:pt>
                <c:pt idx="6477">
                  <c:v>52.9</c:v>
                </c:pt>
                <c:pt idx="6478">
                  <c:v>25.24</c:v>
                </c:pt>
                <c:pt idx="6479">
                  <c:v>22.01</c:v>
                </c:pt>
                <c:pt idx="6480">
                  <c:v>49.98</c:v>
                </c:pt>
                <c:pt idx="6481">
                  <c:v>22.95</c:v>
                </c:pt>
                <c:pt idx="6482">
                  <c:v>29.110000000000021</c:v>
                </c:pt>
                <c:pt idx="6483">
                  <c:v>43.94</c:v>
                </c:pt>
                <c:pt idx="6484">
                  <c:v>17.610000000000021</c:v>
                </c:pt>
                <c:pt idx="6485">
                  <c:v>38.99</c:v>
                </c:pt>
                <c:pt idx="6486">
                  <c:v>36.980000000000004</c:v>
                </c:pt>
                <c:pt idx="6487">
                  <c:v>22.97</c:v>
                </c:pt>
                <c:pt idx="6488">
                  <c:v>39.99</c:v>
                </c:pt>
                <c:pt idx="6489">
                  <c:v>37.78</c:v>
                </c:pt>
                <c:pt idx="6490">
                  <c:v>53.730000000000011</c:v>
                </c:pt>
                <c:pt idx="6491">
                  <c:v>38.4</c:v>
                </c:pt>
                <c:pt idx="6492">
                  <c:v>31.04</c:v>
                </c:pt>
                <c:pt idx="6493">
                  <c:v>23.87</c:v>
                </c:pt>
                <c:pt idx="6494">
                  <c:v>48.42</c:v>
                </c:pt>
                <c:pt idx="6495">
                  <c:v>28.99</c:v>
                </c:pt>
                <c:pt idx="6496">
                  <c:v>28.27</c:v>
                </c:pt>
                <c:pt idx="6497">
                  <c:v>22.2</c:v>
                </c:pt>
                <c:pt idx="6498">
                  <c:v>28.27</c:v>
                </c:pt>
                <c:pt idx="6499">
                  <c:v>26.2</c:v>
                </c:pt>
                <c:pt idx="6500">
                  <c:v>43.99</c:v>
                </c:pt>
                <c:pt idx="6501">
                  <c:v>37.81</c:v>
                </c:pt>
                <c:pt idx="6502">
                  <c:v>42.67</c:v>
                </c:pt>
                <c:pt idx="6503">
                  <c:v>44.92</c:v>
                </c:pt>
                <c:pt idx="6504">
                  <c:v>24.919999999999987</c:v>
                </c:pt>
                <c:pt idx="6505">
                  <c:v>16.939999999999987</c:v>
                </c:pt>
                <c:pt idx="6506">
                  <c:v>25.959999999999987</c:v>
                </c:pt>
                <c:pt idx="6507">
                  <c:v>28.49</c:v>
                </c:pt>
                <c:pt idx="6508">
                  <c:v>15.09</c:v>
                </c:pt>
                <c:pt idx="6509">
                  <c:v>29.93</c:v>
                </c:pt>
                <c:pt idx="6510">
                  <c:v>51.78</c:v>
                </c:pt>
                <c:pt idx="6511">
                  <c:v>39.090000000000003</c:v>
                </c:pt>
                <c:pt idx="6512">
                  <c:v>37.74</c:v>
                </c:pt>
                <c:pt idx="6513">
                  <c:v>62.82</c:v>
                </c:pt>
                <c:pt idx="6514">
                  <c:v>29.95</c:v>
                </c:pt>
                <c:pt idx="6515">
                  <c:v>54.690000000000012</c:v>
                </c:pt>
                <c:pt idx="6516">
                  <c:v>24.57</c:v>
                </c:pt>
                <c:pt idx="6517">
                  <c:v>31</c:v>
                </c:pt>
                <c:pt idx="6518">
                  <c:v>52.92</c:v>
                </c:pt>
                <c:pt idx="6519">
                  <c:v>28.01</c:v>
                </c:pt>
                <c:pt idx="6520">
                  <c:v>43.2</c:v>
                </c:pt>
                <c:pt idx="6521">
                  <c:v>47.99</c:v>
                </c:pt>
                <c:pt idx="6522">
                  <c:v>28.95</c:v>
                </c:pt>
                <c:pt idx="6523">
                  <c:v>28.16</c:v>
                </c:pt>
                <c:pt idx="6524">
                  <c:v>42.42</c:v>
                </c:pt>
                <c:pt idx="6525">
                  <c:v>30.43</c:v>
                </c:pt>
                <c:pt idx="6526">
                  <c:v>26.23</c:v>
                </c:pt>
                <c:pt idx="6527">
                  <c:v>43.21</c:v>
                </c:pt>
                <c:pt idx="6528">
                  <c:v>20.38</c:v>
                </c:pt>
                <c:pt idx="6529">
                  <c:v>43.06</c:v>
                </c:pt>
                <c:pt idx="6530">
                  <c:v>16.89</c:v>
                </c:pt>
                <c:pt idx="6531">
                  <c:v>35.5</c:v>
                </c:pt>
                <c:pt idx="6532">
                  <c:v>25.279999999999987</c:v>
                </c:pt>
                <c:pt idx="6533">
                  <c:v>25.05</c:v>
                </c:pt>
                <c:pt idx="6534">
                  <c:v>36.840000000000003</c:v>
                </c:pt>
                <c:pt idx="6535">
                  <c:v>25.07</c:v>
                </c:pt>
                <c:pt idx="6536">
                  <c:v>27.979999999999986</c:v>
                </c:pt>
                <c:pt idx="6537">
                  <c:v>21.74</c:v>
                </c:pt>
                <c:pt idx="6538">
                  <c:v>17.8</c:v>
                </c:pt>
                <c:pt idx="6539">
                  <c:v>45.86</c:v>
                </c:pt>
                <c:pt idx="6540">
                  <c:v>42.11</c:v>
                </c:pt>
                <c:pt idx="6541">
                  <c:v>43.06</c:v>
                </c:pt>
                <c:pt idx="6542">
                  <c:v>31.95</c:v>
                </c:pt>
                <c:pt idx="6543">
                  <c:v>46.1</c:v>
                </c:pt>
                <c:pt idx="6544">
                  <c:v>39.6</c:v>
                </c:pt>
                <c:pt idx="6545">
                  <c:v>15.08</c:v>
                </c:pt>
                <c:pt idx="6546">
                  <c:v>65.52</c:v>
                </c:pt>
                <c:pt idx="6547">
                  <c:v>20</c:v>
                </c:pt>
                <c:pt idx="6548">
                  <c:v>37.630000000000003</c:v>
                </c:pt>
                <c:pt idx="6549">
                  <c:v>24.07</c:v>
                </c:pt>
                <c:pt idx="6550">
                  <c:v>40.06</c:v>
                </c:pt>
                <c:pt idx="6551">
                  <c:v>33.14</c:v>
                </c:pt>
                <c:pt idx="6552">
                  <c:v>31.03</c:v>
                </c:pt>
                <c:pt idx="6553">
                  <c:v>29.38</c:v>
                </c:pt>
                <c:pt idx="6554">
                  <c:v>24.81000000000002</c:v>
                </c:pt>
                <c:pt idx="6555">
                  <c:v>61.8</c:v>
                </c:pt>
                <c:pt idx="6556">
                  <c:v>19.100000000000001</c:v>
                </c:pt>
                <c:pt idx="6557">
                  <c:v>35.18</c:v>
                </c:pt>
                <c:pt idx="6558">
                  <c:v>30.97</c:v>
                </c:pt>
                <c:pt idx="6559">
                  <c:v>30.57</c:v>
                </c:pt>
                <c:pt idx="6560">
                  <c:v>37.9</c:v>
                </c:pt>
                <c:pt idx="6561">
                  <c:v>44.92</c:v>
                </c:pt>
                <c:pt idx="6562">
                  <c:v>28.419999999999987</c:v>
                </c:pt>
                <c:pt idx="6563">
                  <c:v>49.96</c:v>
                </c:pt>
                <c:pt idx="6564">
                  <c:v>25.08</c:v>
                </c:pt>
                <c:pt idx="6565">
                  <c:v>34.96</c:v>
                </c:pt>
                <c:pt idx="6566">
                  <c:v>34.03</c:v>
                </c:pt>
                <c:pt idx="6567">
                  <c:v>38.42</c:v>
                </c:pt>
                <c:pt idx="6568">
                  <c:v>31.08</c:v>
                </c:pt>
                <c:pt idx="6569">
                  <c:v>28.88</c:v>
                </c:pt>
                <c:pt idx="6570">
                  <c:v>30.29</c:v>
                </c:pt>
                <c:pt idx="6571">
                  <c:v>36.33</c:v>
                </c:pt>
                <c:pt idx="6572">
                  <c:v>29.830000000000005</c:v>
                </c:pt>
                <c:pt idx="6573">
                  <c:v>30.09</c:v>
                </c:pt>
                <c:pt idx="6574">
                  <c:v>39.64</c:v>
                </c:pt>
                <c:pt idx="6575">
                  <c:v>27.03</c:v>
                </c:pt>
                <c:pt idx="6576">
                  <c:v>39.06</c:v>
                </c:pt>
                <c:pt idx="6577">
                  <c:v>46.31</c:v>
                </c:pt>
                <c:pt idx="6578">
                  <c:v>29.09</c:v>
                </c:pt>
                <c:pt idx="6579">
                  <c:v>28.3</c:v>
                </c:pt>
                <c:pt idx="6580">
                  <c:v>24.08</c:v>
                </c:pt>
                <c:pt idx="6581">
                  <c:v>36.090000000000003</c:v>
                </c:pt>
                <c:pt idx="6582">
                  <c:v>40.97</c:v>
                </c:pt>
                <c:pt idx="6583">
                  <c:v>57.1</c:v>
                </c:pt>
                <c:pt idx="6584">
                  <c:v>17.38</c:v>
                </c:pt>
                <c:pt idx="6585">
                  <c:v>28.02</c:v>
                </c:pt>
                <c:pt idx="6586">
                  <c:v>31.73</c:v>
                </c:pt>
                <c:pt idx="6587">
                  <c:v>18.02</c:v>
                </c:pt>
                <c:pt idx="6588">
                  <c:v>37.03</c:v>
                </c:pt>
                <c:pt idx="6589">
                  <c:v>28.779999999999987</c:v>
                </c:pt>
                <c:pt idx="6590">
                  <c:v>29</c:v>
                </c:pt>
                <c:pt idx="6591">
                  <c:v>53.790000000000013</c:v>
                </c:pt>
                <c:pt idx="6592">
                  <c:v>43.09</c:v>
                </c:pt>
                <c:pt idx="6593">
                  <c:v>34.97</c:v>
                </c:pt>
                <c:pt idx="6594">
                  <c:v>31.03</c:v>
                </c:pt>
                <c:pt idx="6595">
                  <c:v>29.13000000000002</c:v>
                </c:pt>
                <c:pt idx="6596">
                  <c:v>29.59</c:v>
                </c:pt>
                <c:pt idx="6597">
                  <c:v>37.450000000000003</c:v>
                </c:pt>
                <c:pt idx="6598">
                  <c:v>26.93</c:v>
                </c:pt>
                <c:pt idx="6599">
                  <c:v>25.939999999999987</c:v>
                </c:pt>
                <c:pt idx="6600">
                  <c:v>28.66</c:v>
                </c:pt>
                <c:pt idx="6601">
                  <c:v>29.35</c:v>
                </c:pt>
                <c:pt idx="6602">
                  <c:v>52.37</c:v>
                </c:pt>
                <c:pt idx="6603">
                  <c:v>35</c:v>
                </c:pt>
                <c:pt idx="6604">
                  <c:v>27.52</c:v>
                </c:pt>
                <c:pt idx="6605">
                  <c:v>25.05</c:v>
                </c:pt>
                <c:pt idx="6606">
                  <c:v>27.439999999999987</c:v>
                </c:pt>
                <c:pt idx="6607">
                  <c:v>40.92</c:v>
                </c:pt>
                <c:pt idx="6608">
                  <c:v>31.08</c:v>
                </c:pt>
                <c:pt idx="6609">
                  <c:v>66.23</c:v>
                </c:pt>
                <c:pt idx="6610">
                  <c:v>39.82</c:v>
                </c:pt>
                <c:pt idx="6611">
                  <c:v>27.58</c:v>
                </c:pt>
                <c:pt idx="6612">
                  <c:v>36.760000000000012</c:v>
                </c:pt>
                <c:pt idx="6613">
                  <c:v>49.6</c:v>
                </c:pt>
                <c:pt idx="6614">
                  <c:v>34.050000000000004</c:v>
                </c:pt>
                <c:pt idx="6615">
                  <c:v>32.94</c:v>
                </c:pt>
                <c:pt idx="6616">
                  <c:v>44.81</c:v>
                </c:pt>
                <c:pt idx="6617">
                  <c:v>43.99</c:v>
                </c:pt>
                <c:pt idx="6618">
                  <c:v>30.07</c:v>
                </c:pt>
                <c:pt idx="6619">
                  <c:v>45.84</c:v>
                </c:pt>
                <c:pt idx="6620">
                  <c:v>30.02</c:v>
                </c:pt>
                <c:pt idx="6621">
                  <c:v>31.17</c:v>
                </c:pt>
                <c:pt idx="6622">
                  <c:v>47.97</c:v>
                </c:pt>
                <c:pt idx="6623">
                  <c:v>27.919999999999987</c:v>
                </c:pt>
                <c:pt idx="6624">
                  <c:v>32.97</c:v>
                </c:pt>
                <c:pt idx="6625">
                  <c:v>23.259999999999987</c:v>
                </c:pt>
                <c:pt idx="6626">
                  <c:v>24.06</c:v>
                </c:pt>
                <c:pt idx="6627">
                  <c:v>22.27</c:v>
                </c:pt>
                <c:pt idx="6628">
                  <c:v>39</c:v>
                </c:pt>
                <c:pt idx="6629">
                  <c:v>45.4</c:v>
                </c:pt>
                <c:pt idx="6630">
                  <c:v>30.02</c:v>
                </c:pt>
                <c:pt idx="6631">
                  <c:v>15.23</c:v>
                </c:pt>
                <c:pt idx="6632">
                  <c:v>28.959999999999987</c:v>
                </c:pt>
                <c:pt idx="6633">
                  <c:v>26.01</c:v>
                </c:pt>
                <c:pt idx="6634">
                  <c:v>46.89</c:v>
                </c:pt>
                <c:pt idx="6635">
                  <c:v>37.01</c:v>
                </c:pt>
                <c:pt idx="6636">
                  <c:v>31.97</c:v>
                </c:pt>
                <c:pt idx="6637">
                  <c:v>55</c:v>
                </c:pt>
                <c:pt idx="6638">
                  <c:v>25.5</c:v>
                </c:pt>
                <c:pt idx="6639">
                  <c:v>27.2</c:v>
                </c:pt>
                <c:pt idx="6640">
                  <c:v>34.01</c:v>
                </c:pt>
                <c:pt idx="6641">
                  <c:v>33.1</c:v>
                </c:pt>
                <c:pt idx="6642">
                  <c:v>27.2</c:v>
                </c:pt>
                <c:pt idx="6643">
                  <c:v>53.02</c:v>
                </c:pt>
                <c:pt idx="6644">
                  <c:v>38.840000000000003</c:v>
                </c:pt>
                <c:pt idx="6645">
                  <c:v>31.08</c:v>
                </c:pt>
                <c:pt idx="6646">
                  <c:v>26.939999999999987</c:v>
                </c:pt>
                <c:pt idx="6647">
                  <c:v>31.37</c:v>
                </c:pt>
                <c:pt idx="6648">
                  <c:v>47.17</c:v>
                </c:pt>
                <c:pt idx="6649">
                  <c:v>35.75</c:v>
                </c:pt>
                <c:pt idx="6650">
                  <c:v>32.67</c:v>
                </c:pt>
                <c:pt idx="6651">
                  <c:v>51.34</c:v>
                </c:pt>
                <c:pt idx="6652">
                  <c:v>55.1</c:v>
                </c:pt>
                <c:pt idx="6653">
                  <c:v>51.57</c:v>
                </c:pt>
                <c:pt idx="6654">
                  <c:v>30</c:v>
                </c:pt>
                <c:pt idx="6655">
                  <c:v>49.54</c:v>
                </c:pt>
                <c:pt idx="6656">
                  <c:v>41.3</c:v>
                </c:pt>
                <c:pt idx="6657">
                  <c:v>29.91</c:v>
                </c:pt>
                <c:pt idx="6658">
                  <c:v>33.020000000000003</c:v>
                </c:pt>
                <c:pt idx="6659">
                  <c:v>29.69</c:v>
                </c:pt>
                <c:pt idx="6660">
                  <c:v>30.52</c:v>
                </c:pt>
                <c:pt idx="6661">
                  <c:v>37.090000000000003</c:v>
                </c:pt>
                <c:pt idx="6662">
                  <c:v>21.08</c:v>
                </c:pt>
                <c:pt idx="6663">
                  <c:v>27.31000000000002</c:v>
                </c:pt>
                <c:pt idx="6664">
                  <c:v>25.22</c:v>
                </c:pt>
                <c:pt idx="6665">
                  <c:v>27.21</c:v>
                </c:pt>
                <c:pt idx="6666">
                  <c:v>15.96</c:v>
                </c:pt>
                <c:pt idx="6667">
                  <c:v>61</c:v>
                </c:pt>
                <c:pt idx="6668">
                  <c:v>41.96</c:v>
                </c:pt>
                <c:pt idx="6669">
                  <c:v>27.959999999999987</c:v>
                </c:pt>
                <c:pt idx="6670">
                  <c:v>26.07</c:v>
                </c:pt>
                <c:pt idx="6671">
                  <c:v>40.04</c:v>
                </c:pt>
                <c:pt idx="6672">
                  <c:v>30.3</c:v>
                </c:pt>
                <c:pt idx="6673">
                  <c:v>34.220000000000013</c:v>
                </c:pt>
                <c:pt idx="6674">
                  <c:v>40.08</c:v>
                </c:pt>
                <c:pt idx="6675">
                  <c:v>42.98</c:v>
                </c:pt>
                <c:pt idx="6676">
                  <c:v>44.32</c:v>
                </c:pt>
                <c:pt idx="6677">
                  <c:v>44.93</c:v>
                </c:pt>
                <c:pt idx="6678">
                  <c:v>28.419999999999987</c:v>
                </c:pt>
                <c:pt idx="6679">
                  <c:v>25.52</c:v>
                </c:pt>
                <c:pt idx="6680">
                  <c:v>29.84</c:v>
                </c:pt>
                <c:pt idx="6681">
                  <c:v>23.07</c:v>
                </c:pt>
                <c:pt idx="6682">
                  <c:v>29.3</c:v>
                </c:pt>
                <c:pt idx="6683">
                  <c:v>54.7</c:v>
                </c:pt>
                <c:pt idx="6684">
                  <c:v>32.07</c:v>
                </c:pt>
                <c:pt idx="6685">
                  <c:v>40.83</c:v>
                </c:pt>
                <c:pt idx="6686">
                  <c:v>34.11</c:v>
                </c:pt>
                <c:pt idx="6687">
                  <c:v>25.49</c:v>
                </c:pt>
                <c:pt idx="6688">
                  <c:v>27.68</c:v>
                </c:pt>
                <c:pt idx="6689">
                  <c:v>23.49</c:v>
                </c:pt>
                <c:pt idx="6690">
                  <c:v>29.58</c:v>
                </c:pt>
                <c:pt idx="6691">
                  <c:v>29.59</c:v>
                </c:pt>
                <c:pt idx="6692">
                  <c:v>34.760000000000012</c:v>
                </c:pt>
                <c:pt idx="6693">
                  <c:v>29.57</c:v>
                </c:pt>
                <c:pt idx="6694">
                  <c:v>48.9</c:v>
                </c:pt>
                <c:pt idx="6695">
                  <c:v>31.52</c:v>
                </c:pt>
                <c:pt idx="6696">
                  <c:v>38.94</c:v>
                </c:pt>
                <c:pt idx="6697">
                  <c:v>58.25</c:v>
                </c:pt>
                <c:pt idx="6698">
                  <c:v>49.84</c:v>
                </c:pt>
                <c:pt idx="6699">
                  <c:v>22.18</c:v>
                </c:pt>
                <c:pt idx="6700">
                  <c:v>34.15</c:v>
                </c:pt>
                <c:pt idx="6701">
                  <c:v>27.01</c:v>
                </c:pt>
                <c:pt idx="6702">
                  <c:v>47.97</c:v>
                </c:pt>
                <c:pt idx="6703">
                  <c:v>29.75</c:v>
                </c:pt>
                <c:pt idx="6704">
                  <c:v>50.95</c:v>
                </c:pt>
                <c:pt idx="6705">
                  <c:v>65.97</c:v>
                </c:pt>
                <c:pt idx="6706">
                  <c:v>59.39</c:v>
                </c:pt>
                <c:pt idx="6707">
                  <c:v>25.62</c:v>
                </c:pt>
                <c:pt idx="6708">
                  <c:v>31.45</c:v>
                </c:pt>
                <c:pt idx="6709">
                  <c:v>30.29</c:v>
                </c:pt>
                <c:pt idx="6710">
                  <c:v>38.97</c:v>
                </c:pt>
                <c:pt idx="6711">
                  <c:v>32.08</c:v>
                </c:pt>
                <c:pt idx="6712">
                  <c:v>27.6</c:v>
                </c:pt>
                <c:pt idx="6713">
                  <c:v>30.57</c:v>
                </c:pt>
                <c:pt idx="6714">
                  <c:v>37.57</c:v>
                </c:pt>
                <c:pt idx="6715">
                  <c:v>25.97</c:v>
                </c:pt>
                <c:pt idx="6716">
                  <c:v>42.43</c:v>
                </c:pt>
                <c:pt idx="6717">
                  <c:v>36.82</c:v>
                </c:pt>
                <c:pt idx="6718">
                  <c:v>26.71</c:v>
                </c:pt>
                <c:pt idx="6719">
                  <c:v>25.279999999999987</c:v>
                </c:pt>
                <c:pt idx="6720">
                  <c:v>57.09</c:v>
                </c:pt>
                <c:pt idx="6721">
                  <c:v>21.3</c:v>
                </c:pt>
                <c:pt idx="6722">
                  <c:v>55.44</c:v>
                </c:pt>
                <c:pt idx="6723">
                  <c:v>23.9</c:v>
                </c:pt>
                <c:pt idx="6724">
                  <c:v>26.01</c:v>
                </c:pt>
                <c:pt idx="6725">
                  <c:v>44.5</c:v>
                </c:pt>
                <c:pt idx="6726">
                  <c:v>30.979999999999986</c:v>
                </c:pt>
                <c:pt idx="6727">
                  <c:v>45.42</c:v>
                </c:pt>
                <c:pt idx="6728">
                  <c:v>30.05</c:v>
                </c:pt>
                <c:pt idx="6729">
                  <c:v>35.92</c:v>
                </c:pt>
                <c:pt idx="6730">
                  <c:v>33.08</c:v>
                </c:pt>
                <c:pt idx="6731">
                  <c:v>54.24</c:v>
                </c:pt>
                <c:pt idx="6732">
                  <c:v>32.06</c:v>
                </c:pt>
                <c:pt idx="6733">
                  <c:v>33.99</c:v>
                </c:pt>
                <c:pt idx="6734">
                  <c:v>30.15000000000002</c:v>
                </c:pt>
                <c:pt idx="6735">
                  <c:v>29.93</c:v>
                </c:pt>
                <c:pt idx="6736">
                  <c:v>31.05</c:v>
                </c:pt>
                <c:pt idx="6737">
                  <c:v>38.92</c:v>
                </c:pt>
                <c:pt idx="6738">
                  <c:v>44</c:v>
                </c:pt>
                <c:pt idx="6739">
                  <c:v>57.84</c:v>
                </c:pt>
                <c:pt idx="6740">
                  <c:v>18.75</c:v>
                </c:pt>
                <c:pt idx="6741">
                  <c:v>50.81</c:v>
                </c:pt>
                <c:pt idx="6742">
                  <c:v>24.6</c:v>
                </c:pt>
                <c:pt idx="6743">
                  <c:v>46.49</c:v>
                </c:pt>
                <c:pt idx="6744">
                  <c:v>46.9</c:v>
                </c:pt>
                <c:pt idx="6745">
                  <c:v>36.35</c:v>
                </c:pt>
                <c:pt idx="6746">
                  <c:v>66.45</c:v>
                </c:pt>
                <c:pt idx="6747">
                  <c:v>30.03</c:v>
                </c:pt>
                <c:pt idx="6748">
                  <c:v>34.450000000000003</c:v>
                </c:pt>
                <c:pt idx="6749">
                  <c:v>22.34</c:v>
                </c:pt>
                <c:pt idx="6750">
                  <c:v>22.65000000000002</c:v>
                </c:pt>
                <c:pt idx="6751">
                  <c:v>35.870000000000005</c:v>
                </c:pt>
                <c:pt idx="6752">
                  <c:v>38.880000000000003</c:v>
                </c:pt>
                <c:pt idx="6753">
                  <c:v>28.58</c:v>
                </c:pt>
                <c:pt idx="6754">
                  <c:v>34.24</c:v>
                </c:pt>
                <c:pt idx="6755">
                  <c:v>38.46</c:v>
                </c:pt>
                <c:pt idx="6756">
                  <c:v>24.419999999999987</c:v>
                </c:pt>
                <c:pt idx="6757">
                  <c:v>29.95</c:v>
                </c:pt>
                <c:pt idx="6758">
                  <c:v>51.660000000000011</c:v>
                </c:pt>
                <c:pt idx="6759">
                  <c:v>40.28</c:v>
                </c:pt>
                <c:pt idx="6760">
                  <c:v>56.11</c:v>
                </c:pt>
                <c:pt idx="6761">
                  <c:v>42.81</c:v>
                </c:pt>
                <c:pt idx="6762">
                  <c:v>32.300000000000004</c:v>
                </c:pt>
                <c:pt idx="6763">
                  <c:v>30.82</c:v>
                </c:pt>
                <c:pt idx="6764">
                  <c:v>42.720000000000013</c:v>
                </c:pt>
                <c:pt idx="6765">
                  <c:v>30.91</c:v>
                </c:pt>
                <c:pt idx="6766">
                  <c:v>30.09</c:v>
                </c:pt>
                <c:pt idx="6767">
                  <c:v>42.24</c:v>
                </c:pt>
                <c:pt idx="6768">
                  <c:v>49.05</c:v>
                </c:pt>
                <c:pt idx="6769">
                  <c:v>46.94</c:v>
                </c:pt>
                <c:pt idx="6770">
                  <c:v>38.690000000000012</c:v>
                </c:pt>
                <c:pt idx="6771">
                  <c:v>21.51</c:v>
                </c:pt>
                <c:pt idx="6772">
                  <c:v>55.07</c:v>
                </c:pt>
                <c:pt idx="6773">
                  <c:v>40</c:v>
                </c:pt>
                <c:pt idx="6774">
                  <c:v>30.439999999999987</c:v>
                </c:pt>
                <c:pt idx="6775">
                  <c:v>42.77</c:v>
                </c:pt>
                <c:pt idx="6776">
                  <c:v>33.770000000000003</c:v>
                </c:pt>
                <c:pt idx="6777">
                  <c:v>57.790000000000013</c:v>
                </c:pt>
                <c:pt idx="6778">
                  <c:v>42.720000000000013</c:v>
                </c:pt>
                <c:pt idx="6779">
                  <c:v>30.01</c:v>
                </c:pt>
                <c:pt idx="6780">
                  <c:v>27.73</c:v>
                </c:pt>
                <c:pt idx="6781">
                  <c:v>29.99</c:v>
                </c:pt>
                <c:pt idx="6782">
                  <c:v>35.04</c:v>
                </c:pt>
                <c:pt idx="6783">
                  <c:v>31.88</c:v>
                </c:pt>
                <c:pt idx="6784">
                  <c:v>31.919999999999987</c:v>
                </c:pt>
                <c:pt idx="6785">
                  <c:v>15.53</c:v>
                </c:pt>
                <c:pt idx="6786">
                  <c:v>43.71</c:v>
                </c:pt>
                <c:pt idx="6787">
                  <c:v>30.77</c:v>
                </c:pt>
                <c:pt idx="6788">
                  <c:v>51.61</c:v>
                </c:pt>
                <c:pt idx="6789">
                  <c:v>47.720000000000013</c:v>
                </c:pt>
                <c:pt idx="6790">
                  <c:v>36.17</c:v>
                </c:pt>
                <c:pt idx="6791">
                  <c:v>20.919999999999987</c:v>
                </c:pt>
                <c:pt idx="6792">
                  <c:v>49.54</c:v>
                </c:pt>
                <c:pt idx="6793">
                  <c:v>37.68</c:v>
                </c:pt>
                <c:pt idx="6794">
                  <c:v>55.7</c:v>
                </c:pt>
                <c:pt idx="6795">
                  <c:v>25.47</c:v>
                </c:pt>
                <c:pt idx="6796">
                  <c:v>29.259999999999987</c:v>
                </c:pt>
                <c:pt idx="6797">
                  <c:v>71.92</c:v>
                </c:pt>
                <c:pt idx="6798">
                  <c:v>29.04</c:v>
                </c:pt>
                <c:pt idx="6799">
                  <c:v>29.06</c:v>
                </c:pt>
                <c:pt idx="6800">
                  <c:v>44.68</c:v>
                </c:pt>
                <c:pt idx="6801">
                  <c:v>28.52</c:v>
                </c:pt>
                <c:pt idx="6802">
                  <c:v>25.03</c:v>
                </c:pt>
                <c:pt idx="6803">
                  <c:v>52.89</c:v>
                </c:pt>
                <c:pt idx="6804">
                  <c:v>46.94</c:v>
                </c:pt>
                <c:pt idx="6805">
                  <c:v>30.27</c:v>
                </c:pt>
                <c:pt idx="6806">
                  <c:v>54.92</c:v>
                </c:pt>
                <c:pt idx="6807">
                  <c:v>30</c:v>
                </c:pt>
                <c:pt idx="6808">
                  <c:v>40.89</c:v>
                </c:pt>
                <c:pt idx="6809">
                  <c:v>25.24</c:v>
                </c:pt>
                <c:pt idx="6810">
                  <c:v>44</c:v>
                </c:pt>
                <c:pt idx="6811">
                  <c:v>23.07</c:v>
                </c:pt>
                <c:pt idx="6812">
                  <c:v>30.959999999999987</c:v>
                </c:pt>
                <c:pt idx="6813">
                  <c:v>26.69</c:v>
                </c:pt>
                <c:pt idx="6814">
                  <c:v>18.13000000000002</c:v>
                </c:pt>
                <c:pt idx="6815">
                  <c:v>50.52</c:v>
                </c:pt>
                <c:pt idx="6816">
                  <c:v>18.329999999999988</c:v>
                </c:pt>
                <c:pt idx="6817">
                  <c:v>24.79</c:v>
                </c:pt>
                <c:pt idx="6818">
                  <c:v>42.84</c:v>
                </c:pt>
                <c:pt idx="6819">
                  <c:v>29.65000000000002</c:v>
                </c:pt>
                <c:pt idx="6820">
                  <c:v>30.95</c:v>
                </c:pt>
                <c:pt idx="6821">
                  <c:v>39.910000000000004</c:v>
                </c:pt>
                <c:pt idx="6822">
                  <c:v>34.870000000000005</c:v>
                </c:pt>
                <c:pt idx="6823">
                  <c:v>46.730000000000011</c:v>
                </c:pt>
                <c:pt idx="6824">
                  <c:v>30.29</c:v>
                </c:pt>
                <c:pt idx="6825">
                  <c:v>51.91</c:v>
                </c:pt>
                <c:pt idx="6826">
                  <c:v>41.190000000000012</c:v>
                </c:pt>
                <c:pt idx="6827">
                  <c:v>38.730000000000011</c:v>
                </c:pt>
                <c:pt idx="6828">
                  <c:v>23.29</c:v>
                </c:pt>
                <c:pt idx="6829">
                  <c:v>36.9</c:v>
                </c:pt>
                <c:pt idx="6830">
                  <c:v>43.91</c:v>
                </c:pt>
                <c:pt idx="6831">
                  <c:v>50.32</c:v>
                </c:pt>
                <c:pt idx="6832">
                  <c:v>46.34</c:v>
                </c:pt>
                <c:pt idx="6833">
                  <c:v>28.68</c:v>
                </c:pt>
                <c:pt idx="6834">
                  <c:v>39.9</c:v>
                </c:pt>
                <c:pt idx="6835">
                  <c:v>44.09</c:v>
                </c:pt>
                <c:pt idx="6836">
                  <c:v>30.21</c:v>
                </c:pt>
                <c:pt idx="6837">
                  <c:v>17.09</c:v>
                </c:pt>
                <c:pt idx="6838">
                  <c:v>24.03</c:v>
                </c:pt>
                <c:pt idx="6839">
                  <c:v>24.9</c:v>
                </c:pt>
                <c:pt idx="6840">
                  <c:v>15.09</c:v>
                </c:pt>
                <c:pt idx="6841">
                  <c:v>20.02</c:v>
                </c:pt>
                <c:pt idx="6842">
                  <c:v>55.03</c:v>
                </c:pt>
                <c:pt idx="6843">
                  <c:v>25.97</c:v>
                </c:pt>
                <c:pt idx="6844">
                  <c:v>29.91</c:v>
                </c:pt>
                <c:pt idx="6845">
                  <c:v>21.07</c:v>
                </c:pt>
                <c:pt idx="6846">
                  <c:v>47.03</c:v>
                </c:pt>
                <c:pt idx="6847">
                  <c:v>37.46</c:v>
                </c:pt>
                <c:pt idx="6848">
                  <c:v>26.14</c:v>
                </c:pt>
                <c:pt idx="6849">
                  <c:v>35.120000000000012</c:v>
                </c:pt>
                <c:pt idx="6850">
                  <c:v>37.92</c:v>
                </c:pt>
                <c:pt idx="6851">
                  <c:v>34.92</c:v>
                </c:pt>
                <c:pt idx="6852">
                  <c:v>31.17</c:v>
                </c:pt>
                <c:pt idx="6853">
                  <c:v>26.14</c:v>
                </c:pt>
                <c:pt idx="6854">
                  <c:v>62.05</c:v>
                </c:pt>
                <c:pt idx="6855">
                  <c:v>31.16</c:v>
                </c:pt>
                <c:pt idx="6856">
                  <c:v>52.86</c:v>
                </c:pt>
                <c:pt idx="6857">
                  <c:v>28.07</c:v>
                </c:pt>
                <c:pt idx="6858">
                  <c:v>37.85</c:v>
                </c:pt>
                <c:pt idx="6859">
                  <c:v>36.5</c:v>
                </c:pt>
                <c:pt idx="6860">
                  <c:v>62.06</c:v>
                </c:pt>
                <c:pt idx="6861">
                  <c:v>34.5</c:v>
                </c:pt>
                <c:pt idx="6862">
                  <c:v>35.93</c:v>
                </c:pt>
                <c:pt idx="6863">
                  <c:v>46.06</c:v>
                </c:pt>
                <c:pt idx="6864">
                  <c:v>35.33</c:v>
                </c:pt>
                <c:pt idx="6865">
                  <c:v>29.88</c:v>
                </c:pt>
                <c:pt idx="6866">
                  <c:v>39.03</c:v>
                </c:pt>
                <c:pt idx="6867">
                  <c:v>35.730000000000011</c:v>
                </c:pt>
                <c:pt idx="6868">
                  <c:v>55</c:v>
                </c:pt>
                <c:pt idx="6869">
                  <c:v>28.06</c:v>
                </c:pt>
                <c:pt idx="6870">
                  <c:v>38.620000000000012</c:v>
                </c:pt>
                <c:pt idx="6871">
                  <c:v>29.18</c:v>
                </c:pt>
                <c:pt idx="6872">
                  <c:v>52</c:v>
                </c:pt>
                <c:pt idx="6873">
                  <c:v>40.520000000000003</c:v>
                </c:pt>
                <c:pt idx="6874">
                  <c:v>41.54</c:v>
                </c:pt>
                <c:pt idx="6875">
                  <c:v>50.93</c:v>
                </c:pt>
                <c:pt idx="6876">
                  <c:v>31.13000000000002</c:v>
                </c:pt>
                <c:pt idx="6877">
                  <c:v>33.97</c:v>
                </c:pt>
                <c:pt idx="6878">
                  <c:v>36.9</c:v>
                </c:pt>
                <c:pt idx="6879">
                  <c:v>25.93</c:v>
                </c:pt>
                <c:pt idx="6880">
                  <c:v>33.790000000000013</c:v>
                </c:pt>
                <c:pt idx="6881">
                  <c:v>39.290000000000013</c:v>
                </c:pt>
                <c:pt idx="6882">
                  <c:v>14.59</c:v>
                </c:pt>
                <c:pt idx="6883">
                  <c:v>46.660000000000011</c:v>
                </c:pt>
                <c:pt idx="6884">
                  <c:v>31</c:v>
                </c:pt>
                <c:pt idx="6885">
                  <c:v>43</c:v>
                </c:pt>
                <c:pt idx="6886">
                  <c:v>40.96</c:v>
                </c:pt>
                <c:pt idx="6887">
                  <c:v>40.910000000000004</c:v>
                </c:pt>
                <c:pt idx="6888">
                  <c:v>52.03</c:v>
                </c:pt>
                <c:pt idx="6889">
                  <c:v>27.3</c:v>
                </c:pt>
                <c:pt idx="6890">
                  <c:v>26.64</c:v>
                </c:pt>
                <c:pt idx="6891">
                  <c:v>24.02</c:v>
                </c:pt>
                <c:pt idx="6892">
                  <c:v>31.09</c:v>
                </c:pt>
                <c:pt idx="6893">
                  <c:v>32.660000000000011</c:v>
                </c:pt>
                <c:pt idx="6894">
                  <c:v>36.980000000000004</c:v>
                </c:pt>
                <c:pt idx="6895">
                  <c:v>34.630000000000003</c:v>
                </c:pt>
                <c:pt idx="6896">
                  <c:v>36.550000000000004</c:v>
                </c:pt>
                <c:pt idx="6897">
                  <c:v>21.06</c:v>
                </c:pt>
                <c:pt idx="6898">
                  <c:v>47.99</c:v>
                </c:pt>
                <c:pt idx="6899">
                  <c:v>36.020000000000003</c:v>
                </c:pt>
                <c:pt idx="6900">
                  <c:v>25.32</c:v>
                </c:pt>
                <c:pt idx="6901">
                  <c:v>49.96</c:v>
                </c:pt>
                <c:pt idx="6902">
                  <c:v>15.52</c:v>
                </c:pt>
                <c:pt idx="6903">
                  <c:v>37.99</c:v>
                </c:pt>
                <c:pt idx="6904">
                  <c:v>38.950000000000003</c:v>
                </c:pt>
                <c:pt idx="6905">
                  <c:v>29.04</c:v>
                </c:pt>
                <c:pt idx="6906">
                  <c:v>24.34</c:v>
                </c:pt>
                <c:pt idx="6907">
                  <c:v>32.44</c:v>
                </c:pt>
                <c:pt idx="6908">
                  <c:v>30.65000000000002</c:v>
                </c:pt>
                <c:pt idx="6909">
                  <c:v>27.919999999999987</c:v>
                </c:pt>
                <c:pt idx="6910">
                  <c:v>48.51</c:v>
                </c:pt>
                <c:pt idx="6911">
                  <c:v>25.17</c:v>
                </c:pt>
                <c:pt idx="6912">
                  <c:v>30.2</c:v>
                </c:pt>
                <c:pt idx="6913">
                  <c:v>35.82</c:v>
                </c:pt>
                <c:pt idx="6914">
                  <c:v>30.93</c:v>
                </c:pt>
                <c:pt idx="6915">
                  <c:v>32.33</c:v>
                </c:pt>
                <c:pt idx="6916">
                  <c:v>36.620000000000012</c:v>
                </c:pt>
                <c:pt idx="6917">
                  <c:v>25.51</c:v>
                </c:pt>
                <c:pt idx="6918">
                  <c:v>35.270000000000003</c:v>
                </c:pt>
                <c:pt idx="6919">
                  <c:v>55.68</c:v>
                </c:pt>
                <c:pt idx="6920">
                  <c:v>40.01</c:v>
                </c:pt>
                <c:pt idx="6921">
                  <c:v>49.94</c:v>
                </c:pt>
                <c:pt idx="6922">
                  <c:v>28.08</c:v>
                </c:pt>
                <c:pt idx="6923">
                  <c:v>37.730000000000011</c:v>
                </c:pt>
                <c:pt idx="6924">
                  <c:v>33.270000000000003</c:v>
                </c:pt>
                <c:pt idx="6925">
                  <c:v>27.06</c:v>
                </c:pt>
                <c:pt idx="6926">
                  <c:v>37.020000000000003</c:v>
                </c:pt>
                <c:pt idx="6927">
                  <c:v>28.74</c:v>
                </c:pt>
                <c:pt idx="6928">
                  <c:v>25.479999999999986</c:v>
                </c:pt>
                <c:pt idx="6929">
                  <c:v>29.7</c:v>
                </c:pt>
                <c:pt idx="6930">
                  <c:v>33.57</c:v>
                </c:pt>
                <c:pt idx="6931">
                  <c:v>50.55</c:v>
                </c:pt>
                <c:pt idx="6932">
                  <c:v>16.39</c:v>
                </c:pt>
                <c:pt idx="6933">
                  <c:v>33</c:v>
                </c:pt>
                <c:pt idx="6934">
                  <c:v>44.27</c:v>
                </c:pt>
                <c:pt idx="6935">
                  <c:v>45.49</c:v>
                </c:pt>
                <c:pt idx="6936">
                  <c:v>24.72</c:v>
                </c:pt>
                <c:pt idx="6937">
                  <c:v>55.25</c:v>
                </c:pt>
                <c:pt idx="6938">
                  <c:v>37.770000000000003</c:v>
                </c:pt>
                <c:pt idx="6939">
                  <c:v>38.130000000000003</c:v>
                </c:pt>
                <c:pt idx="6940">
                  <c:v>28.779999999999987</c:v>
                </c:pt>
                <c:pt idx="6941">
                  <c:v>46.35</c:v>
                </c:pt>
                <c:pt idx="6942">
                  <c:v>34.980000000000004</c:v>
                </c:pt>
                <c:pt idx="6943">
                  <c:v>36</c:v>
                </c:pt>
                <c:pt idx="6944">
                  <c:v>32.24</c:v>
                </c:pt>
                <c:pt idx="6945">
                  <c:v>44.24</c:v>
                </c:pt>
                <c:pt idx="6946">
                  <c:v>38.74</c:v>
                </c:pt>
                <c:pt idx="6947">
                  <c:v>50.48</c:v>
                </c:pt>
                <c:pt idx="6948">
                  <c:v>34.260000000000012</c:v>
                </c:pt>
                <c:pt idx="6949">
                  <c:v>40.4</c:v>
                </c:pt>
                <c:pt idx="6950">
                  <c:v>48</c:v>
                </c:pt>
                <c:pt idx="6951">
                  <c:v>18.149999999999999</c:v>
                </c:pt>
                <c:pt idx="6952">
                  <c:v>39.46</c:v>
                </c:pt>
                <c:pt idx="6953">
                  <c:v>39.9</c:v>
                </c:pt>
                <c:pt idx="6954">
                  <c:v>39.910000000000004</c:v>
                </c:pt>
                <c:pt idx="6955">
                  <c:v>29.99</c:v>
                </c:pt>
                <c:pt idx="6956">
                  <c:v>24.3</c:v>
                </c:pt>
                <c:pt idx="6957">
                  <c:v>24.62</c:v>
                </c:pt>
                <c:pt idx="6958">
                  <c:v>44.54</c:v>
                </c:pt>
                <c:pt idx="6959">
                  <c:v>39.910000000000004</c:v>
                </c:pt>
                <c:pt idx="6960">
                  <c:v>40.98</c:v>
                </c:pt>
                <c:pt idx="6961">
                  <c:v>39.480000000000004</c:v>
                </c:pt>
                <c:pt idx="6962">
                  <c:v>53.01</c:v>
                </c:pt>
                <c:pt idx="6963">
                  <c:v>41.34</c:v>
                </c:pt>
                <c:pt idx="6964">
                  <c:v>60</c:v>
                </c:pt>
                <c:pt idx="6965">
                  <c:v>26.04</c:v>
                </c:pt>
                <c:pt idx="6966">
                  <c:v>25.38</c:v>
                </c:pt>
                <c:pt idx="6967">
                  <c:v>49.94</c:v>
                </c:pt>
                <c:pt idx="6968">
                  <c:v>33</c:v>
                </c:pt>
                <c:pt idx="6969">
                  <c:v>20.09</c:v>
                </c:pt>
                <c:pt idx="6970">
                  <c:v>47.92</c:v>
                </c:pt>
                <c:pt idx="6971">
                  <c:v>21.43</c:v>
                </c:pt>
                <c:pt idx="6972">
                  <c:v>31.02</c:v>
                </c:pt>
                <c:pt idx="6973">
                  <c:v>16.36</c:v>
                </c:pt>
                <c:pt idx="6974">
                  <c:v>56.92</c:v>
                </c:pt>
                <c:pt idx="6975">
                  <c:v>54</c:v>
                </c:pt>
                <c:pt idx="6976">
                  <c:v>29.36</c:v>
                </c:pt>
                <c:pt idx="6977">
                  <c:v>30.41</c:v>
                </c:pt>
                <c:pt idx="6978">
                  <c:v>43.25</c:v>
                </c:pt>
                <c:pt idx="6979">
                  <c:v>42.17</c:v>
                </c:pt>
                <c:pt idx="6980">
                  <c:v>55.47</c:v>
                </c:pt>
                <c:pt idx="6981">
                  <c:v>47.03</c:v>
                </c:pt>
                <c:pt idx="6982">
                  <c:v>49.99</c:v>
                </c:pt>
                <c:pt idx="6983">
                  <c:v>44.25</c:v>
                </c:pt>
                <c:pt idx="6984">
                  <c:v>31.09</c:v>
                </c:pt>
                <c:pt idx="6985">
                  <c:v>38.42</c:v>
                </c:pt>
                <c:pt idx="6986">
                  <c:v>23.43</c:v>
                </c:pt>
                <c:pt idx="6987">
                  <c:v>39.290000000000013</c:v>
                </c:pt>
                <c:pt idx="6988">
                  <c:v>49.48</c:v>
                </c:pt>
                <c:pt idx="6989">
                  <c:v>28.5</c:v>
                </c:pt>
                <c:pt idx="6990">
                  <c:v>39</c:v>
                </c:pt>
                <c:pt idx="6991">
                  <c:v>27.67</c:v>
                </c:pt>
                <c:pt idx="6992">
                  <c:v>47.68</c:v>
                </c:pt>
                <c:pt idx="6993">
                  <c:v>37.4</c:v>
                </c:pt>
                <c:pt idx="6994">
                  <c:v>24.03</c:v>
                </c:pt>
                <c:pt idx="6995">
                  <c:v>31.88</c:v>
                </c:pt>
                <c:pt idx="6996">
                  <c:v>39.130000000000003</c:v>
                </c:pt>
                <c:pt idx="6997">
                  <c:v>44.45</c:v>
                </c:pt>
                <c:pt idx="6998">
                  <c:v>30.82</c:v>
                </c:pt>
                <c:pt idx="6999">
                  <c:v>52.45</c:v>
                </c:pt>
                <c:pt idx="7000">
                  <c:v>38.99</c:v>
                </c:pt>
                <c:pt idx="7001">
                  <c:v>48.65</c:v>
                </c:pt>
                <c:pt idx="7002">
                  <c:v>47.08</c:v>
                </c:pt>
                <c:pt idx="7003">
                  <c:v>46.96</c:v>
                </c:pt>
                <c:pt idx="7004">
                  <c:v>25.02</c:v>
                </c:pt>
                <c:pt idx="7005">
                  <c:v>32.56</c:v>
                </c:pt>
                <c:pt idx="7006">
                  <c:v>30.779999999999987</c:v>
                </c:pt>
                <c:pt idx="7007">
                  <c:v>48.01</c:v>
                </c:pt>
                <c:pt idx="7008">
                  <c:v>37.93</c:v>
                </c:pt>
                <c:pt idx="7009">
                  <c:v>62.51</c:v>
                </c:pt>
                <c:pt idx="7010">
                  <c:v>34.99</c:v>
                </c:pt>
                <c:pt idx="7011">
                  <c:v>30.09</c:v>
                </c:pt>
                <c:pt idx="7012">
                  <c:v>62.06</c:v>
                </c:pt>
                <c:pt idx="7013">
                  <c:v>24.279999999999987</c:v>
                </c:pt>
                <c:pt idx="7014">
                  <c:v>39.300000000000004</c:v>
                </c:pt>
                <c:pt idx="7015">
                  <c:v>46.96</c:v>
                </c:pt>
                <c:pt idx="7016">
                  <c:v>32.17</c:v>
                </c:pt>
                <c:pt idx="7017">
                  <c:v>27.97</c:v>
                </c:pt>
                <c:pt idx="7018">
                  <c:v>40.01</c:v>
                </c:pt>
                <c:pt idx="7019">
                  <c:v>31.34</c:v>
                </c:pt>
                <c:pt idx="7020">
                  <c:v>43.92</c:v>
                </c:pt>
                <c:pt idx="7021">
                  <c:v>25.09</c:v>
                </c:pt>
                <c:pt idx="7022">
                  <c:v>59.84</c:v>
                </c:pt>
                <c:pt idx="7023">
                  <c:v>39.92</c:v>
                </c:pt>
                <c:pt idx="7024">
                  <c:v>24.09</c:v>
                </c:pt>
                <c:pt idx="7025">
                  <c:v>39.200000000000003</c:v>
                </c:pt>
                <c:pt idx="7026">
                  <c:v>48.1</c:v>
                </c:pt>
                <c:pt idx="7027">
                  <c:v>31.08</c:v>
                </c:pt>
                <c:pt idx="7028">
                  <c:v>46.54</c:v>
                </c:pt>
                <c:pt idx="7029">
                  <c:v>31.95</c:v>
                </c:pt>
                <c:pt idx="7030">
                  <c:v>55.03</c:v>
                </c:pt>
                <c:pt idx="7031">
                  <c:v>53.37</c:v>
                </c:pt>
                <c:pt idx="7032">
                  <c:v>34.92</c:v>
                </c:pt>
                <c:pt idx="7033">
                  <c:v>40.020000000000003</c:v>
                </c:pt>
                <c:pt idx="7034">
                  <c:v>41.2</c:v>
                </c:pt>
                <c:pt idx="7035">
                  <c:v>53.33</c:v>
                </c:pt>
                <c:pt idx="7036">
                  <c:v>31.02</c:v>
                </c:pt>
                <c:pt idx="7037">
                  <c:v>60.96</c:v>
                </c:pt>
                <c:pt idx="7038">
                  <c:v>25.1</c:v>
                </c:pt>
                <c:pt idx="7039">
                  <c:v>60.28</c:v>
                </c:pt>
                <c:pt idx="7040">
                  <c:v>43.93</c:v>
                </c:pt>
                <c:pt idx="7041">
                  <c:v>24.84</c:v>
                </c:pt>
                <c:pt idx="7042">
                  <c:v>21.939999999999987</c:v>
                </c:pt>
                <c:pt idx="7043">
                  <c:v>29.54</c:v>
                </c:pt>
                <c:pt idx="7044">
                  <c:v>26</c:v>
                </c:pt>
                <c:pt idx="7045">
                  <c:v>24.18</c:v>
                </c:pt>
                <c:pt idx="7046">
                  <c:v>35</c:v>
                </c:pt>
                <c:pt idx="7047">
                  <c:v>24.07</c:v>
                </c:pt>
                <c:pt idx="7048">
                  <c:v>18.959999999999987</c:v>
                </c:pt>
                <c:pt idx="7049">
                  <c:v>32.18</c:v>
                </c:pt>
                <c:pt idx="7050">
                  <c:v>23.19</c:v>
                </c:pt>
                <c:pt idx="7051">
                  <c:v>43.78</c:v>
                </c:pt>
                <c:pt idx="7052">
                  <c:v>55.55</c:v>
                </c:pt>
                <c:pt idx="7053">
                  <c:v>46.8</c:v>
                </c:pt>
                <c:pt idx="7054">
                  <c:v>52.05</c:v>
                </c:pt>
                <c:pt idx="7055">
                  <c:v>20.16</c:v>
                </c:pt>
                <c:pt idx="7056">
                  <c:v>39.660000000000011</c:v>
                </c:pt>
                <c:pt idx="7057">
                  <c:v>38.04</c:v>
                </c:pt>
                <c:pt idx="7058">
                  <c:v>32.39</c:v>
                </c:pt>
                <c:pt idx="7059">
                  <c:v>27.4</c:v>
                </c:pt>
                <c:pt idx="7060">
                  <c:v>19.170000000000005</c:v>
                </c:pt>
                <c:pt idx="7061">
                  <c:v>40</c:v>
                </c:pt>
                <c:pt idx="7062">
                  <c:v>55.93</c:v>
                </c:pt>
                <c:pt idx="7063">
                  <c:v>26.71</c:v>
                </c:pt>
                <c:pt idx="7064">
                  <c:v>55.01</c:v>
                </c:pt>
                <c:pt idx="7065">
                  <c:v>46.48</c:v>
                </c:pt>
                <c:pt idx="7066">
                  <c:v>26.41</c:v>
                </c:pt>
                <c:pt idx="7067">
                  <c:v>24.85</c:v>
                </c:pt>
                <c:pt idx="7068">
                  <c:v>34.050000000000004</c:v>
                </c:pt>
                <c:pt idx="7069">
                  <c:v>32.31</c:v>
                </c:pt>
                <c:pt idx="7070">
                  <c:v>19.12</c:v>
                </c:pt>
                <c:pt idx="7071">
                  <c:v>17.03</c:v>
                </c:pt>
                <c:pt idx="7072">
                  <c:v>30.87</c:v>
                </c:pt>
                <c:pt idx="7073">
                  <c:v>19.97</c:v>
                </c:pt>
                <c:pt idx="7074">
                  <c:v>34.9</c:v>
                </c:pt>
                <c:pt idx="7075">
                  <c:v>23.9</c:v>
                </c:pt>
                <c:pt idx="7076">
                  <c:v>25.29</c:v>
                </c:pt>
                <c:pt idx="7077">
                  <c:v>29.03</c:v>
                </c:pt>
                <c:pt idx="7078">
                  <c:v>40.11</c:v>
                </c:pt>
                <c:pt idx="7079">
                  <c:v>53.93</c:v>
                </c:pt>
                <c:pt idx="7080">
                  <c:v>31.58</c:v>
                </c:pt>
                <c:pt idx="7081">
                  <c:v>50.94</c:v>
                </c:pt>
                <c:pt idx="7082">
                  <c:v>50.53</c:v>
                </c:pt>
                <c:pt idx="7083">
                  <c:v>39.910000000000004</c:v>
                </c:pt>
                <c:pt idx="7084">
                  <c:v>20.63000000000002</c:v>
                </c:pt>
                <c:pt idx="7085">
                  <c:v>29.63000000000002</c:v>
                </c:pt>
                <c:pt idx="7086">
                  <c:v>23.31000000000002</c:v>
                </c:pt>
                <c:pt idx="7087">
                  <c:v>39.81</c:v>
                </c:pt>
                <c:pt idx="7088">
                  <c:v>32</c:v>
                </c:pt>
                <c:pt idx="7089">
                  <c:v>39.51</c:v>
                </c:pt>
                <c:pt idx="7090">
                  <c:v>31.04</c:v>
                </c:pt>
                <c:pt idx="7091">
                  <c:v>30.32</c:v>
                </c:pt>
                <c:pt idx="7092">
                  <c:v>13.93</c:v>
                </c:pt>
                <c:pt idx="7093">
                  <c:v>42.04</c:v>
                </c:pt>
                <c:pt idx="7094">
                  <c:v>28.09</c:v>
                </c:pt>
                <c:pt idx="7095">
                  <c:v>32.790000000000013</c:v>
                </c:pt>
                <c:pt idx="7096">
                  <c:v>23.71</c:v>
                </c:pt>
                <c:pt idx="7097">
                  <c:v>47.05</c:v>
                </c:pt>
                <c:pt idx="7098">
                  <c:v>29.35</c:v>
                </c:pt>
                <c:pt idx="7099">
                  <c:v>28.74</c:v>
                </c:pt>
                <c:pt idx="7100">
                  <c:v>35.03</c:v>
                </c:pt>
                <c:pt idx="7101">
                  <c:v>55.92</c:v>
                </c:pt>
                <c:pt idx="7102">
                  <c:v>34.190000000000012</c:v>
                </c:pt>
                <c:pt idx="7103">
                  <c:v>42.97</c:v>
                </c:pt>
                <c:pt idx="7104">
                  <c:v>22.24</c:v>
                </c:pt>
                <c:pt idx="7105">
                  <c:v>36.620000000000012</c:v>
                </c:pt>
                <c:pt idx="7106">
                  <c:v>36.93</c:v>
                </c:pt>
                <c:pt idx="7107">
                  <c:v>54.87</c:v>
                </c:pt>
                <c:pt idx="7108">
                  <c:v>24.84</c:v>
                </c:pt>
                <c:pt idx="7109">
                  <c:v>21.03</c:v>
                </c:pt>
                <c:pt idx="7110">
                  <c:v>34.75</c:v>
                </c:pt>
                <c:pt idx="7111">
                  <c:v>36.690000000000012</c:v>
                </c:pt>
                <c:pt idx="7112">
                  <c:v>43.1</c:v>
                </c:pt>
                <c:pt idx="7113">
                  <c:v>46.92</c:v>
                </c:pt>
                <c:pt idx="7114">
                  <c:v>44.2</c:v>
                </c:pt>
                <c:pt idx="7115">
                  <c:v>55</c:v>
                </c:pt>
                <c:pt idx="7116">
                  <c:v>25.4</c:v>
                </c:pt>
                <c:pt idx="7117">
                  <c:v>29.32</c:v>
                </c:pt>
                <c:pt idx="7118">
                  <c:v>38.020000000000003</c:v>
                </c:pt>
                <c:pt idx="7119">
                  <c:v>29.439999999999987</c:v>
                </c:pt>
                <c:pt idx="7120">
                  <c:v>37.94</c:v>
                </c:pt>
                <c:pt idx="7121">
                  <c:v>28.07</c:v>
                </c:pt>
                <c:pt idx="7122">
                  <c:v>21.4</c:v>
                </c:pt>
                <c:pt idx="7123">
                  <c:v>39.14</c:v>
                </c:pt>
                <c:pt idx="7124">
                  <c:v>41.41</c:v>
                </c:pt>
                <c:pt idx="7125">
                  <c:v>40.450000000000003</c:v>
                </c:pt>
                <c:pt idx="7126">
                  <c:v>28.87</c:v>
                </c:pt>
                <c:pt idx="7127">
                  <c:v>49.6</c:v>
                </c:pt>
                <c:pt idx="7128">
                  <c:v>48.56</c:v>
                </c:pt>
                <c:pt idx="7129">
                  <c:v>39.220000000000013</c:v>
                </c:pt>
                <c:pt idx="7130">
                  <c:v>38.97</c:v>
                </c:pt>
                <c:pt idx="7131">
                  <c:v>41.95</c:v>
                </c:pt>
                <c:pt idx="7132">
                  <c:v>41.9</c:v>
                </c:pt>
                <c:pt idx="7133">
                  <c:v>46.98</c:v>
                </c:pt>
                <c:pt idx="7134">
                  <c:v>21.04</c:v>
                </c:pt>
                <c:pt idx="7135">
                  <c:v>45.42</c:v>
                </c:pt>
                <c:pt idx="7136">
                  <c:v>28.4</c:v>
                </c:pt>
                <c:pt idx="7137">
                  <c:v>51.27</c:v>
                </c:pt>
                <c:pt idx="7138">
                  <c:v>38.56</c:v>
                </c:pt>
                <c:pt idx="7139">
                  <c:v>21.69</c:v>
                </c:pt>
                <c:pt idx="7140">
                  <c:v>35.06</c:v>
                </c:pt>
                <c:pt idx="7141">
                  <c:v>19.05</c:v>
                </c:pt>
                <c:pt idx="7142">
                  <c:v>31.52</c:v>
                </c:pt>
                <c:pt idx="7143">
                  <c:v>49</c:v>
                </c:pt>
                <c:pt idx="7144">
                  <c:v>41.18</c:v>
                </c:pt>
                <c:pt idx="7145">
                  <c:v>19.63000000000002</c:v>
                </c:pt>
                <c:pt idx="7146">
                  <c:v>44.96</c:v>
                </c:pt>
                <c:pt idx="7147">
                  <c:v>68.19</c:v>
                </c:pt>
                <c:pt idx="7148">
                  <c:v>23.419999999999987</c:v>
                </c:pt>
                <c:pt idx="7149">
                  <c:v>30.610000000000021</c:v>
                </c:pt>
                <c:pt idx="7150">
                  <c:v>30.279999999999987</c:v>
                </c:pt>
                <c:pt idx="7151">
                  <c:v>15.06</c:v>
                </c:pt>
                <c:pt idx="7152">
                  <c:v>40.08</c:v>
                </c:pt>
                <c:pt idx="7153">
                  <c:v>25</c:v>
                </c:pt>
                <c:pt idx="7154">
                  <c:v>39.94</c:v>
                </c:pt>
                <c:pt idx="7155">
                  <c:v>43.93</c:v>
                </c:pt>
                <c:pt idx="7156">
                  <c:v>26.459999999999987</c:v>
                </c:pt>
                <c:pt idx="7157">
                  <c:v>17.010000000000005</c:v>
                </c:pt>
                <c:pt idx="7158">
                  <c:v>50.660000000000011</c:v>
                </c:pt>
                <c:pt idx="7159">
                  <c:v>27.4</c:v>
                </c:pt>
                <c:pt idx="7160">
                  <c:v>28.16</c:v>
                </c:pt>
                <c:pt idx="7161">
                  <c:v>44.2</c:v>
                </c:pt>
                <c:pt idx="7162">
                  <c:v>30.99</c:v>
                </c:pt>
                <c:pt idx="7163">
                  <c:v>43</c:v>
                </c:pt>
                <c:pt idx="7164">
                  <c:v>35.18</c:v>
                </c:pt>
                <c:pt idx="7165">
                  <c:v>42.84</c:v>
                </c:pt>
                <c:pt idx="7166">
                  <c:v>25.259999999999987</c:v>
                </c:pt>
                <c:pt idx="7167">
                  <c:v>24.72</c:v>
                </c:pt>
                <c:pt idx="7168">
                  <c:v>37.75</c:v>
                </c:pt>
                <c:pt idx="7169">
                  <c:v>37.160000000000011</c:v>
                </c:pt>
                <c:pt idx="7170">
                  <c:v>33.24</c:v>
                </c:pt>
                <c:pt idx="7171">
                  <c:v>32.17</c:v>
                </c:pt>
                <c:pt idx="7172">
                  <c:v>23.06</c:v>
                </c:pt>
                <c:pt idx="7173">
                  <c:v>47.92</c:v>
                </c:pt>
                <c:pt idx="7174">
                  <c:v>33.03</c:v>
                </c:pt>
                <c:pt idx="7175">
                  <c:v>29.06</c:v>
                </c:pt>
                <c:pt idx="7176">
                  <c:v>43.96</c:v>
                </c:pt>
                <c:pt idx="7177">
                  <c:v>31.82</c:v>
                </c:pt>
                <c:pt idx="7178">
                  <c:v>50.97</c:v>
                </c:pt>
                <c:pt idx="7179">
                  <c:v>38.050000000000004</c:v>
                </c:pt>
                <c:pt idx="7180">
                  <c:v>21.14</c:v>
                </c:pt>
                <c:pt idx="7181">
                  <c:v>15.84</c:v>
                </c:pt>
                <c:pt idx="7182">
                  <c:v>29.43</c:v>
                </c:pt>
                <c:pt idx="7183">
                  <c:v>55.55</c:v>
                </c:pt>
                <c:pt idx="7184">
                  <c:v>16</c:v>
                </c:pt>
                <c:pt idx="7185">
                  <c:v>31.69</c:v>
                </c:pt>
                <c:pt idx="7186">
                  <c:v>26.13000000000002</c:v>
                </c:pt>
                <c:pt idx="7187">
                  <c:v>27.32</c:v>
                </c:pt>
                <c:pt idx="7188">
                  <c:v>29.15000000000002</c:v>
                </c:pt>
                <c:pt idx="7189">
                  <c:v>15.74</c:v>
                </c:pt>
                <c:pt idx="7190">
                  <c:v>35.9</c:v>
                </c:pt>
                <c:pt idx="7191">
                  <c:v>33.950000000000003</c:v>
                </c:pt>
                <c:pt idx="7192">
                  <c:v>39.97</c:v>
                </c:pt>
                <c:pt idx="7193">
                  <c:v>25.53</c:v>
                </c:pt>
                <c:pt idx="7194">
                  <c:v>32.28</c:v>
                </c:pt>
                <c:pt idx="7195">
                  <c:v>44.07</c:v>
                </c:pt>
                <c:pt idx="7196">
                  <c:v>22.72</c:v>
                </c:pt>
                <c:pt idx="7197">
                  <c:v>27.09</c:v>
                </c:pt>
                <c:pt idx="7198">
                  <c:v>37.99</c:v>
                </c:pt>
                <c:pt idx="7199">
                  <c:v>31.1</c:v>
                </c:pt>
                <c:pt idx="7200">
                  <c:v>25.34</c:v>
                </c:pt>
                <c:pt idx="7201">
                  <c:v>27.45</c:v>
                </c:pt>
                <c:pt idx="7202">
                  <c:v>26.72</c:v>
                </c:pt>
                <c:pt idx="7203">
                  <c:v>33.92</c:v>
                </c:pt>
                <c:pt idx="7204">
                  <c:v>63.790000000000013</c:v>
                </c:pt>
                <c:pt idx="7205">
                  <c:v>72.169999999999987</c:v>
                </c:pt>
                <c:pt idx="7206">
                  <c:v>37.980000000000004</c:v>
                </c:pt>
                <c:pt idx="7207">
                  <c:v>29.14</c:v>
                </c:pt>
                <c:pt idx="7208">
                  <c:v>29.53</c:v>
                </c:pt>
                <c:pt idx="7209">
                  <c:v>42.41</c:v>
                </c:pt>
                <c:pt idx="7210">
                  <c:v>65.05</c:v>
                </c:pt>
                <c:pt idx="7211">
                  <c:v>44.85</c:v>
                </c:pt>
                <c:pt idx="7212">
                  <c:v>32.220000000000013</c:v>
                </c:pt>
                <c:pt idx="7213">
                  <c:v>15.3</c:v>
                </c:pt>
                <c:pt idx="7214">
                  <c:v>46.96</c:v>
                </c:pt>
                <c:pt idx="7215">
                  <c:v>37.96</c:v>
                </c:pt>
                <c:pt idx="7216">
                  <c:v>53.64</c:v>
                </c:pt>
                <c:pt idx="7217">
                  <c:v>36.96</c:v>
                </c:pt>
                <c:pt idx="7218">
                  <c:v>26.21</c:v>
                </c:pt>
                <c:pt idx="7219">
                  <c:v>35.94</c:v>
                </c:pt>
                <c:pt idx="7220">
                  <c:v>35.65</c:v>
                </c:pt>
                <c:pt idx="7221">
                  <c:v>40.32</c:v>
                </c:pt>
                <c:pt idx="7222">
                  <c:v>41.44</c:v>
                </c:pt>
                <c:pt idx="7223">
                  <c:v>29.91</c:v>
                </c:pt>
                <c:pt idx="7224">
                  <c:v>28.12</c:v>
                </c:pt>
                <c:pt idx="7225">
                  <c:v>36</c:v>
                </c:pt>
                <c:pt idx="7226">
                  <c:v>24.99</c:v>
                </c:pt>
                <c:pt idx="7227">
                  <c:v>40.56</c:v>
                </c:pt>
                <c:pt idx="7228">
                  <c:v>28.25</c:v>
                </c:pt>
                <c:pt idx="7229">
                  <c:v>32.220000000000013</c:v>
                </c:pt>
                <c:pt idx="7230">
                  <c:v>44.99</c:v>
                </c:pt>
                <c:pt idx="7231">
                  <c:v>22.610000000000021</c:v>
                </c:pt>
                <c:pt idx="7232">
                  <c:v>32.370000000000005</c:v>
                </c:pt>
                <c:pt idx="7233">
                  <c:v>36.980000000000004</c:v>
                </c:pt>
                <c:pt idx="7234">
                  <c:v>30.16</c:v>
                </c:pt>
                <c:pt idx="7235">
                  <c:v>45.03</c:v>
                </c:pt>
                <c:pt idx="7236">
                  <c:v>59.91</c:v>
                </c:pt>
                <c:pt idx="7237">
                  <c:v>25.13000000000002</c:v>
                </c:pt>
                <c:pt idx="7238">
                  <c:v>31.959999999999987</c:v>
                </c:pt>
                <c:pt idx="7239">
                  <c:v>27.759999999999987</c:v>
                </c:pt>
                <c:pt idx="7240">
                  <c:v>41.74</c:v>
                </c:pt>
                <c:pt idx="7241">
                  <c:v>57.42</c:v>
                </c:pt>
                <c:pt idx="7242">
                  <c:v>45.290000000000013</c:v>
                </c:pt>
                <c:pt idx="7243">
                  <c:v>54.97</c:v>
                </c:pt>
                <c:pt idx="7244">
                  <c:v>46.2</c:v>
                </c:pt>
                <c:pt idx="7245">
                  <c:v>45.92</c:v>
                </c:pt>
                <c:pt idx="7246">
                  <c:v>32.550000000000004</c:v>
                </c:pt>
                <c:pt idx="7247">
                  <c:v>26.9</c:v>
                </c:pt>
                <c:pt idx="7248">
                  <c:v>34.130000000000003</c:v>
                </c:pt>
                <c:pt idx="7249">
                  <c:v>34.44</c:v>
                </c:pt>
                <c:pt idx="7250">
                  <c:v>48.51</c:v>
                </c:pt>
                <c:pt idx="7251">
                  <c:v>43.99</c:v>
                </c:pt>
                <c:pt idx="7252">
                  <c:v>49.94</c:v>
                </c:pt>
                <c:pt idx="7253">
                  <c:v>38.39</c:v>
                </c:pt>
                <c:pt idx="7254">
                  <c:v>26.4</c:v>
                </c:pt>
                <c:pt idx="7255">
                  <c:v>34.800000000000004</c:v>
                </c:pt>
                <c:pt idx="7256">
                  <c:v>23.1</c:v>
                </c:pt>
                <c:pt idx="7257">
                  <c:v>38.96</c:v>
                </c:pt>
                <c:pt idx="7258">
                  <c:v>49.56</c:v>
                </c:pt>
                <c:pt idx="7259">
                  <c:v>30.04</c:v>
                </c:pt>
                <c:pt idx="7260">
                  <c:v>20.439999999999987</c:v>
                </c:pt>
                <c:pt idx="7261">
                  <c:v>32.07</c:v>
                </c:pt>
                <c:pt idx="7262">
                  <c:v>26.56</c:v>
                </c:pt>
                <c:pt idx="7263">
                  <c:v>45.31</c:v>
                </c:pt>
                <c:pt idx="7264">
                  <c:v>41.8</c:v>
                </c:pt>
                <c:pt idx="7265">
                  <c:v>20.21</c:v>
                </c:pt>
                <c:pt idx="7266">
                  <c:v>27.04</c:v>
                </c:pt>
                <c:pt idx="7267">
                  <c:v>24.09</c:v>
                </c:pt>
                <c:pt idx="7268">
                  <c:v>34.03</c:v>
                </c:pt>
                <c:pt idx="7269">
                  <c:v>47.01</c:v>
                </c:pt>
                <c:pt idx="7270">
                  <c:v>47.92</c:v>
                </c:pt>
                <c:pt idx="7271">
                  <c:v>64.989999999999995</c:v>
                </c:pt>
                <c:pt idx="7272">
                  <c:v>44.68</c:v>
                </c:pt>
                <c:pt idx="7273">
                  <c:v>34.07</c:v>
                </c:pt>
                <c:pt idx="7274">
                  <c:v>48.81</c:v>
                </c:pt>
                <c:pt idx="7275">
                  <c:v>29.23</c:v>
                </c:pt>
                <c:pt idx="7276">
                  <c:v>31.14</c:v>
                </c:pt>
                <c:pt idx="7277">
                  <c:v>52</c:v>
                </c:pt>
                <c:pt idx="7278">
                  <c:v>30.04</c:v>
                </c:pt>
                <c:pt idx="7279">
                  <c:v>54.15</c:v>
                </c:pt>
                <c:pt idx="7280">
                  <c:v>25.08</c:v>
                </c:pt>
                <c:pt idx="7281">
                  <c:v>32.020000000000003</c:v>
                </c:pt>
                <c:pt idx="7282">
                  <c:v>36.85</c:v>
                </c:pt>
                <c:pt idx="7283">
                  <c:v>25.24</c:v>
                </c:pt>
                <c:pt idx="7284">
                  <c:v>24.830000000000005</c:v>
                </c:pt>
                <c:pt idx="7285">
                  <c:v>38.800000000000004</c:v>
                </c:pt>
                <c:pt idx="7286">
                  <c:v>25.1</c:v>
                </c:pt>
                <c:pt idx="7287">
                  <c:v>31.62</c:v>
                </c:pt>
                <c:pt idx="7288">
                  <c:v>38.57</c:v>
                </c:pt>
                <c:pt idx="7289">
                  <c:v>27.939999999999987</c:v>
                </c:pt>
                <c:pt idx="7290">
                  <c:v>25.939999999999987</c:v>
                </c:pt>
                <c:pt idx="7291">
                  <c:v>25.82</c:v>
                </c:pt>
                <c:pt idx="7292">
                  <c:v>42.17</c:v>
                </c:pt>
                <c:pt idx="7293">
                  <c:v>41.790000000000013</c:v>
                </c:pt>
                <c:pt idx="7294">
                  <c:v>37.47</c:v>
                </c:pt>
                <c:pt idx="7295">
                  <c:v>40.630000000000003</c:v>
                </c:pt>
                <c:pt idx="7296">
                  <c:v>39.82</c:v>
                </c:pt>
                <c:pt idx="7297">
                  <c:v>41.98</c:v>
                </c:pt>
                <c:pt idx="7298">
                  <c:v>21.25</c:v>
                </c:pt>
                <c:pt idx="7299">
                  <c:v>27.67</c:v>
                </c:pt>
                <c:pt idx="7300">
                  <c:v>51.21</c:v>
                </c:pt>
                <c:pt idx="7301">
                  <c:v>24.93</c:v>
                </c:pt>
                <c:pt idx="7302">
                  <c:v>46.99</c:v>
                </c:pt>
                <c:pt idx="7303">
                  <c:v>28.68</c:v>
                </c:pt>
                <c:pt idx="7304">
                  <c:v>36.67</c:v>
                </c:pt>
                <c:pt idx="7305">
                  <c:v>29.7</c:v>
                </c:pt>
                <c:pt idx="7306">
                  <c:v>35.92</c:v>
                </c:pt>
                <c:pt idx="7307">
                  <c:v>25.439999999999987</c:v>
                </c:pt>
                <c:pt idx="7308">
                  <c:v>29.439999999999987</c:v>
                </c:pt>
                <c:pt idx="7309">
                  <c:v>24.45</c:v>
                </c:pt>
                <c:pt idx="7310">
                  <c:v>23.05</c:v>
                </c:pt>
                <c:pt idx="7311">
                  <c:v>45.96</c:v>
                </c:pt>
                <c:pt idx="7312">
                  <c:v>47.05</c:v>
                </c:pt>
                <c:pt idx="7313">
                  <c:v>49.89</c:v>
                </c:pt>
                <c:pt idx="7314">
                  <c:v>29.18</c:v>
                </c:pt>
                <c:pt idx="7315">
                  <c:v>50.07</c:v>
                </c:pt>
                <c:pt idx="7316">
                  <c:v>36.86</c:v>
                </c:pt>
                <c:pt idx="7317">
                  <c:v>41.48</c:v>
                </c:pt>
                <c:pt idx="7318">
                  <c:v>37.790000000000013</c:v>
                </c:pt>
                <c:pt idx="7319">
                  <c:v>51.56</c:v>
                </c:pt>
                <c:pt idx="7320">
                  <c:v>25.7</c:v>
                </c:pt>
                <c:pt idx="7321">
                  <c:v>30.91</c:v>
                </c:pt>
                <c:pt idx="7322">
                  <c:v>46.07</c:v>
                </c:pt>
                <c:pt idx="7323">
                  <c:v>25.6</c:v>
                </c:pt>
                <c:pt idx="7324">
                  <c:v>36.950000000000003</c:v>
                </c:pt>
                <c:pt idx="7325">
                  <c:v>33.51</c:v>
                </c:pt>
                <c:pt idx="7326">
                  <c:v>42.3</c:v>
                </c:pt>
                <c:pt idx="7327">
                  <c:v>27.08</c:v>
                </c:pt>
                <c:pt idx="7328">
                  <c:v>27.09</c:v>
                </c:pt>
                <c:pt idx="7329">
                  <c:v>28.64</c:v>
                </c:pt>
                <c:pt idx="7330">
                  <c:v>20.14</c:v>
                </c:pt>
                <c:pt idx="7331">
                  <c:v>27.8</c:v>
                </c:pt>
                <c:pt idx="7332">
                  <c:v>30.12</c:v>
                </c:pt>
                <c:pt idx="7333">
                  <c:v>37.9</c:v>
                </c:pt>
                <c:pt idx="7334">
                  <c:v>38.910000000000004</c:v>
                </c:pt>
                <c:pt idx="7335">
                  <c:v>40.760000000000012</c:v>
                </c:pt>
                <c:pt idx="7336">
                  <c:v>61.14</c:v>
                </c:pt>
                <c:pt idx="7337">
                  <c:v>56.91</c:v>
                </c:pt>
                <c:pt idx="7338">
                  <c:v>38.93</c:v>
                </c:pt>
                <c:pt idx="7339">
                  <c:v>26.06</c:v>
                </c:pt>
                <c:pt idx="7340">
                  <c:v>21.57</c:v>
                </c:pt>
                <c:pt idx="7341">
                  <c:v>44.92</c:v>
                </c:pt>
                <c:pt idx="7342">
                  <c:v>49.08</c:v>
                </c:pt>
                <c:pt idx="7343">
                  <c:v>26.01</c:v>
                </c:pt>
                <c:pt idx="7344">
                  <c:v>43.94</c:v>
                </c:pt>
                <c:pt idx="7345">
                  <c:v>24</c:v>
                </c:pt>
                <c:pt idx="7346">
                  <c:v>31.03</c:v>
                </c:pt>
                <c:pt idx="7347">
                  <c:v>43</c:v>
                </c:pt>
                <c:pt idx="7348">
                  <c:v>36.9</c:v>
                </c:pt>
                <c:pt idx="7349">
                  <c:v>53.790000000000013</c:v>
                </c:pt>
                <c:pt idx="7350">
                  <c:v>43.97</c:v>
                </c:pt>
                <c:pt idx="7351">
                  <c:v>45.08</c:v>
                </c:pt>
                <c:pt idx="7352">
                  <c:v>38.68</c:v>
                </c:pt>
                <c:pt idx="7353">
                  <c:v>30.43</c:v>
                </c:pt>
                <c:pt idx="7354">
                  <c:v>23.77</c:v>
                </c:pt>
                <c:pt idx="7355">
                  <c:v>47.77</c:v>
                </c:pt>
                <c:pt idx="7356">
                  <c:v>19.829999999999988</c:v>
                </c:pt>
                <c:pt idx="7357">
                  <c:v>43.75</c:v>
                </c:pt>
                <c:pt idx="7358">
                  <c:v>24.919999999999987</c:v>
                </c:pt>
                <c:pt idx="7359">
                  <c:v>46.93</c:v>
                </c:pt>
                <c:pt idx="7360">
                  <c:v>31.09</c:v>
                </c:pt>
                <c:pt idx="7361">
                  <c:v>44.190000000000012</c:v>
                </c:pt>
                <c:pt idx="7362">
                  <c:v>52.33</c:v>
                </c:pt>
                <c:pt idx="7363">
                  <c:v>23.93</c:v>
                </c:pt>
                <c:pt idx="7364">
                  <c:v>56.99</c:v>
                </c:pt>
                <c:pt idx="7365">
                  <c:v>65</c:v>
                </c:pt>
                <c:pt idx="7366">
                  <c:v>16.75</c:v>
                </c:pt>
                <c:pt idx="7367">
                  <c:v>28.7</c:v>
                </c:pt>
                <c:pt idx="7368">
                  <c:v>29.02</c:v>
                </c:pt>
                <c:pt idx="7369">
                  <c:v>47.91</c:v>
                </c:pt>
                <c:pt idx="7370">
                  <c:v>54.42</c:v>
                </c:pt>
                <c:pt idx="7371">
                  <c:v>32.06</c:v>
                </c:pt>
                <c:pt idx="7372">
                  <c:v>36.99</c:v>
                </c:pt>
                <c:pt idx="7373">
                  <c:v>44.790000000000013</c:v>
                </c:pt>
                <c:pt idx="7374">
                  <c:v>28.63000000000002</c:v>
                </c:pt>
                <c:pt idx="7375">
                  <c:v>42.91</c:v>
                </c:pt>
                <c:pt idx="7376">
                  <c:v>37.230000000000011</c:v>
                </c:pt>
                <c:pt idx="7377">
                  <c:v>65.669999999999987</c:v>
                </c:pt>
                <c:pt idx="7378">
                  <c:v>29.759999999999987</c:v>
                </c:pt>
                <c:pt idx="7379">
                  <c:v>36.200000000000003</c:v>
                </c:pt>
                <c:pt idx="7380">
                  <c:v>42.82</c:v>
                </c:pt>
                <c:pt idx="7381">
                  <c:v>29.43</c:v>
                </c:pt>
                <c:pt idx="7382">
                  <c:v>45.97</c:v>
                </c:pt>
                <c:pt idx="7383">
                  <c:v>31.72</c:v>
                </c:pt>
                <c:pt idx="7384">
                  <c:v>35.64</c:v>
                </c:pt>
                <c:pt idx="7385">
                  <c:v>29.15000000000002</c:v>
                </c:pt>
                <c:pt idx="7386">
                  <c:v>30.62</c:v>
                </c:pt>
                <c:pt idx="7387">
                  <c:v>37.06</c:v>
                </c:pt>
                <c:pt idx="7388">
                  <c:v>37.33</c:v>
                </c:pt>
                <c:pt idx="7389">
                  <c:v>45</c:v>
                </c:pt>
                <c:pt idx="7390">
                  <c:v>51.02</c:v>
                </c:pt>
                <c:pt idx="7391">
                  <c:v>29.55</c:v>
                </c:pt>
                <c:pt idx="7392">
                  <c:v>32.25</c:v>
                </c:pt>
                <c:pt idx="7393">
                  <c:v>38.74</c:v>
                </c:pt>
                <c:pt idx="7394">
                  <c:v>36.44</c:v>
                </c:pt>
                <c:pt idx="7395">
                  <c:v>28.65000000000002</c:v>
                </c:pt>
                <c:pt idx="7396">
                  <c:v>27.04</c:v>
                </c:pt>
                <c:pt idx="7397">
                  <c:v>34.200000000000003</c:v>
                </c:pt>
                <c:pt idx="7398">
                  <c:v>30.57</c:v>
                </c:pt>
                <c:pt idx="7399">
                  <c:v>15.84</c:v>
                </c:pt>
                <c:pt idx="7400">
                  <c:v>22.66</c:v>
                </c:pt>
                <c:pt idx="7401">
                  <c:v>46.81</c:v>
                </c:pt>
                <c:pt idx="7402">
                  <c:v>30.56</c:v>
                </c:pt>
                <c:pt idx="7403">
                  <c:v>14.68</c:v>
                </c:pt>
                <c:pt idx="7404">
                  <c:v>14.3</c:v>
                </c:pt>
                <c:pt idx="7405">
                  <c:v>29.6</c:v>
                </c:pt>
                <c:pt idx="7406">
                  <c:v>52.32</c:v>
                </c:pt>
                <c:pt idx="7407">
                  <c:v>29.279999999999987</c:v>
                </c:pt>
                <c:pt idx="7408">
                  <c:v>25.63000000000002</c:v>
                </c:pt>
                <c:pt idx="7409">
                  <c:v>27.86</c:v>
                </c:pt>
                <c:pt idx="7410">
                  <c:v>55.13</c:v>
                </c:pt>
                <c:pt idx="7411">
                  <c:v>21.979999999999986</c:v>
                </c:pt>
                <c:pt idx="7412">
                  <c:v>15.55</c:v>
                </c:pt>
                <c:pt idx="7413">
                  <c:v>53.81</c:v>
                </c:pt>
                <c:pt idx="7414">
                  <c:v>33.36</c:v>
                </c:pt>
                <c:pt idx="7415">
                  <c:v>47.65</c:v>
                </c:pt>
                <c:pt idx="7416">
                  <c:v>27.03</c:v>
                </c:pt>
                <c:pt idx="7417">
                  <c:v>24</c:v>
                </c:pt>
                <c:pt idx="7418">
                  <c:v>48.15</c:v>
                </c:pt>
                <c:pt idx="7419">
                  <c:v>29.06</c:v>
                </c:pt>
                <c:pt idx="7420">
                  <c:v>33.550000000000004</c:v>
                </c:pt>
                <c:pt idx="7421">
                  <c:v>50.96</c:v>
                </c:pt>
                <c:pt idx="7422">
                  <c:v>24.57</c:v>
                </c:pt>
                <c:pt idx="7423">
                  <c:v>35.120000000000012</c:v>
                </c:pt>
                <c:pt idx="7424">
                  <c:v>41.08</c:v>
                </c:pt>
                <c:pt idx="7425">
                  <c:v>35.08</c:v>
                </c:pt>
                <c:pt idx="7426">
                  <c:v>45.97</c:v>
                </c:pt>
                <c:pt idx="7427">
                  <c:v>40.410000000000004</c:v>
                </c:pt>
                <c:pt idx="7428">
                  <c:v>42.64</c:v>
                </c:pt>
                <c:pt idx="7429">
                  <c:v>24.87</c:v>
                </c:pt>
                <c:pt idx="7430">
                  <c:v>38.99</c:v>
                </c:pt>
                <c:pt idx="7431">
                  <c:v>26.08</c:v>
                </c:pt>
                <c:pt idx="7432">
                  <c:v>35.17</c:v>
                </c:pt>
                <c:pt idx="7433">
                  <c:v>29.330000000000005</c:v>
                </c:pt>
                <c:pt idx="7434">
                  <c:v>42.02</c:v>
                </c:pt>
                <c:pt idx="7435">
                  <c:v>50.34</c:v>
                </c:pt>
                <c:pt idx="7436">
                  <c:v>24.27</c:v>
                </c:pt>
                <c:pt idx="7437">
                  <c:v>26.01</c:v>
                </c:pt>
                <c:pt idx="7438">
                  <c:v>49.36</c:v>
                </c:pt>
                <c:pt idx="7439">
                  <c:v>28.51</c:v>
                </c:pt>
                <c:pt idx="7440">
                  <c:v>34.800000000000004</c:v>
                </c:pt>
                <c:pt idx="7441">
                  <c:v>32.08</c:v>
                </c:pt>
                <c:pt idx="7442">
                  <c:v>37.790000000000013</c:v>
                </c:pt>
                <c:pt idx="7443">
                  <c:v>33.450000000000003</c:v>
                </c:pt>
                <c:pt idx="7444">
                  <c:v>36.120000000000012</c:v>
                </c:pt>
                <c:pt idx="7445">
                  <c:v>40.950000000000003</c:v>
                </c:pt>
                <c:pt idx="7446">
                  <c:v>44.42</c:v>
                </c:pt>
                <c:pt idx="7447">
                  <c:v>41.11</c:v>
                </c:pt>
                <c:pt idx="7448">
                  <c:v>26.03</c:v>
                </c:pt>
                <c:pt idx="7449">
                  <c:v>52.85</c:v>
                </c:pt>
                <c:pt idx="7450">
                  <c:v>32.020000000000003</c:v>
                </c:pt>
                <c:pt idx="7451">
                  <c:v>32.230000000000011</c:v>
                </c:pt>
                <c:pt idx="7452">
                  <c:v>49.91</c:v>
                </c:pt>
                <c:pt idx="7453">
                  <c:v>31.06</c:v>
                </c:pt>
                <c:pt idx="7454">
                  <c:v>28.01</c:v>
                </c:pt>
                <c:pt idx="7455">
                  <c:v>56.65</c:v>
                </c:pt>
                <c:pt idx="7456">
                  <c:v>38.950000000000003</c:v>
                </c:pt>
                <c:pt idx="7457">
                  <c:v>33.49</c:v>
                </c:pt>
                <c:pt idx="7458">
                  <c:v>41.04</c:v>
                </c:pt>
                <c:pt idx="7459">
                  <c:v>36.290000000000013</c:v>
                </c:pt>
                <c:pt idx="7460">
                  <c:v>21.110000000000021</c:v>
                </c:pt>
                <c:pt idx="7461">
                  <c:v>30.49</c:v>
                </c:pt>
                <c:pt idx="7462">
                  <c:v>49.98</c:v>
                </c:pt>
                <c:pt idx="7463">
                  <c:v>49.93</c:v>
                </c:pt>
                <c:pt idx="7464">
                  <c:v>28.3</c:v>
                </c:pt>
                <c:pt idx="7465">
                  <c:v>32.410000000000004</c:v>
                </c:pt>
                <c:pt idx="7466">
                  <c:v>31.959999999999987</c:v>
                </c:pt>
                <c:pt idx="7467">
                  <c:v>44.96</c:v>
                </c:pt>
                <c:pt idx="7468">
                  <c:v>44.92</c:v>
                </c:pt>
                <c:pt idx="7469">
                  <c:v>28.459999999999987</c:v>
                </c:pt>
                <c:pt idx="7470">
                  <c:v>46.09</c:v>
                </c:pt>
                <c:pt idx="7471">
                  <c:v>45.92</c:v>
                </c:pt>
                <c:pt idx="7472">
                  <c:v>30.01</c:v>
                </c:pt>
                <c:pt idx="7473">
                  <c:v>75.61</c:v>
                </c:pt>
                <c:pt idx="7474">
                  <c:v>50.44</c:v>
                </c:pt>
                <c:pt idx="7475">
                  <c:v>30.87</c:v>
                </c:pt>
                <c:pt idx="7476">
                  <c:v>40.590000000000003</c:v>
                </c:pt>
                <c:pt idx="7477">
                  <c:v>24.14</c:v>
                </c:pt>
                <c:pt idx="7478">
                  <c:v>44.82</c:v>
                </c:pt>
                <c:pt idx="7479">
                  <c:v>59.2</c:v>
                </c:pt>
                <c:pt idx="7480">
                  <c:v>41.96</c:v>
                </c:pt>
                <c:pt idx="7481">
                  <c:v>32.83</c:v>
                </c:pt>
                <c:pt idx="7482">
                  <c:v>30.01</c:v>
                </c:pt>
                <c:pt idx="7483">
                  <c:v>39.9</c:v>
                </c:pt>
                <c:pt idx="7484">
                  <c:v>83.910000000000025</c:v>
                </c:pt>
                <c:pt idx="7485">
                  <c:v>38.94</c:v>
                </c:pt>
                <c:pt idx="7486">
                  <c:v>44.4</c:v>
                </c:pt>
                <c:pt idx="7487">
                  <c:v>31.439999999999987</c:v>
                </c:pt>
                <c:pt idx="7488">
                  <c:v>30.08</c:v>
                </c:pt>
                <c:pt idx="7489">
                  <c:v>30.4</c:v>
                </c:pt>
                <c:pt idx="7490">
                  <c:v>27.57</c:v>
                </c:pt>
                <c:pt idx="7491">
                  <c:v>38.92</c:v>
                </c:pt>
                <c:pt idx="7492">
                  <c:v>28.72</c:v>
                </c:pt>
                <c:pt idx="7493">
                  <c:v>39.96</c:v>
                </c:pt>
                <c:pt idx="7494">
                  <c:v>28.74</c:v>
                </c:pt>
                <c:pt idx="7495">
                  <c:v>32.700000000000003</c:v>
                </c:pt>
                <c:pt idx="7496">
                  <c:v>31.8</c:v>
                </c:pt>
                <c:pt idx="7497">
                  <c:v>43.99</c:v>
                </c:pt>
                <c:pt idx="7498">
                  <c:v>40.98</c:v>
                </c:pt>
                <c:pt idx="7499">
                  <c:v>45.18</c:v>
                </c:pt>
                <c:pt idx="7500">
                  <c:v>25.01</c:v>
                </c:pt>
                <c:pt idx="7501">
                  <c:v>36.82</c:v>
                </c:pt>
                <c:pt idx="7502">
                  <c:v>31.95</c:v>
                </c:pt>
                <c:pt idx="7503">
                  <c:v>23.21</c:v>
                </c:pt>
                <c:pt idx="7504">
                  <c:v>27.93</c:v>
                </c:pt>
                <c:pt idx="7505">
                  <c:v>31.419999999999987</c:v>
                </c:pt>
                <c:pt idx="7506">
                  <c:v>29.36</c:v>
                </c:pt>
                <c:pt idx="7507">
                  <c:v>37.090000000000003</c:v>
                </c:pt>
                <c:pt idx="7508">
                  <c:v>36.31</c:v>
                </c:pt>
                <c:pt idx="7509">
                  <c:v>34.770000000000003</c:v>
                </c:pt>
                <c:pt idx="7510">
                  <c:v>49.36</c:v>
                </c:pt>
                <c:pt idx="7511">
                  <c:v>31.74</c:v>
                </c:pt>
                <c:pt idx="7512">
                  <c:v>28.7</c:v>
                </c:pt>
                <c:pt idx="7513">
                  <c:v>20.22</c:v>
                </c:pt>
                <c:pt idx="7514">
                  <c:v>54.9</c:v>
                </c:pt>
                <c:pt idx="7515">
                  <c:v>31.35</c:v>
                </c:pt>
                <c:pt idx="7516">
                  <c:v>40.050000000000004</c:v>
                </c:pt>
                <c:pt idx="7517">
                  <c:v>15.56</c:v>
                </c:pt>
                <c:pt idx="7518">
                  <c:v>49.36</c:v>
                </c:pt>
                <c:pt idx="7519">
                  <c:v>45.57</c:v>
                </c:pt>
                <c:pt idx="7520">
                  <c:v>50.34</c:v>
                </c:pt>
                <c:pt idx="7521">
                  <c:v>31.59</c:v>
                </c:pt>
                <c:pt idx="7522">
                  <c:v>29.610000000000021</c:v>
                </c:pt>
                <c:pt idx="7523">
                  <c:v>24.67</c:v>
                </c:pt>
                <c:pt idx="7524">
                  <c:v>49.93</c:v>
                </c:pt>
                <c:pt idx="7525">
                  <c:v>40.28</c:v>
                </c:pt>
                <c:pt idx="7526">
                  <c:v>62.95</c:v>
                </c:pt>
                <c:pt idx="7527">
                  <c:v>39.03</c:v>
                </c:pt>
                <c:pt idx="7528">
                  <c:v>40.300000000000004</c:v>
                </c:pt>
                <c:pt idx="7529">
                  <c:v>26.979999999999986</c:v>
                </c:pt>
                <c:pt idx="7530">
                  <c:v>41.94</c:v>
                </c:pt>
                <c:pt idx="7531">
                  <c:v>24.51</c:v>
                </c:pt>
                <c:pt idx="7532">
                  <c:v>30.08</c:v>
                </c:pt>
                <c:pt idx="7533">
                  <c:v>46.37</c:v>
                </c:pt>
                <c:pt idx="7534">
                  <c:v>30.06</c:v>
                </c:pt>
                <c:pt idx="7535">
                  <c:v>23.08</c:v>
                </c:pt>
                <c:pt idx="7536">
                  <c:v>35.32</c:v>
                </c:pt>
                <c:pt idx="7537">
                  <c:v>26.87</c:v>
                </c:pt>
                <c:pt idx="7538">
                  <c:v>34</c:v>
                </c:pt>
                <c:pt idx="7539">
                  <c:v>37.94</c:v>
                </c:pt>
                <c:pt idx="7540">
                  <c:v>26.87</c:v>
                </c:pt>
                <c:pt idx="7541">
                  <c:v>46.96</c:v>
                </c:pt>
                <c:pt idx="7542">
                  <c:v>22</c:v>
                </c:pt>
                <c:pt idx="7543">
                  <c:v>32.92</c:v>
                </c:pt>
                <c:pt idx="7544">
                  <c:v>27.14</c:v>
                </c:pt>
                <c:pt idx="7545">
                  <c:v>27.939999999999987</c:v>
                </c:pt>
                <c:pt idx="7546">
                  <c:v>28.419999999999987</c:v>
                </c:pt>
                <c:pt idx="7547">
                  <c:v>31.01</c:v>
                </c:pt>
                <c:pt idx="7548">
                  <c:v>58.59</c:v>
                </c:pt>
                <c:pt idx="7549">
                  <c:v>31.86</c:v>
                </c:pt>
                <c:pt idx="7550">
                  <c:v>28.64</c:v>
                </c:pt>
                <c:pt idx="7551">
                  <c:v>25.110000000000021</c:v>
                </c:pt>
                <c:pt idx="7552">
                  <c:v>28.15000000000002</c:v>
                </c:pt>
                <c:pt idx="7553">
                  <c:v>40.050000000000004</c:v>
                </c:pt>
                <c:pt idx="7554">
                  <c:v>34.15</c:v>
                </c:pt>
                <c:pt idx="7555">
                  <c:v>27.39</c:v>
                </c:pt>
                <c:pt idx="7556">
                  <c:v>28.05</c:v>
                </c:pt>
                <c:pt idx="7557">
                  <c:v>27.84</c:v>
                </c:pt>
                <c:pt idx="7558">
                  <c:v>59.41</c:v>
                </c:pt>
                <c:pt idx="7559">
                  <c:v>44.9</c:v>
                </c:pt>
                <c:pt idx="7560">
                  <c:v>56.8</c:v>
                </c:pt>
                <c:pt idx="7561">
                  <c:v>14.94</c:v>
                </c:pt>
                <c:pt idx="7562">
                  <c:v>22.63000000000002</c:v>
                </c:pt>
                <c:pt idx="7563">
                  <c:v>20.979999999999986</c:v>
                </c:pt>
                <c:pt idx="7564">
                  <c:v>31.93</c:v>
                </c:pt>
                <c:pt idx="7565">
                  <c:v>35.68</c:v>
                </c:pt>
                <c:pt idx="7566">
                  <c:v>33.93</c:v>
                </c:pt>
                <c:pt idx="7567">
                  <c:v>52.44</c:v>
                </c:pt>
                <c:pt idx="7568">
                  <c:v>50.92</c:v>
                </c:pt>
                <c:pt idx="7569">
                  <c:v>33.97</c:v>
                </c:pt>
                <c:pt idx="7570">
                  <c:v>38.340000000000003</c:v>
                </c:pt>
                <c:pt idx="7571">
                  <c:v>42.01</c:v>
                </c:pt>
                <c:pt idx="7572">
                  <c:v>28.25</c:v>
                </c:pt>
                <c:pt idx="7573">
                  <c:v>26.97</c:v>
                </c:pt>
                <c:pt idx="7574">
                  <c:v>25.31000000000002</c:v>
                </c:pt>
                <c:pt idx="7575">
                  <c:v>30.35</c:v>
                </c:pt>
                <c:pt idx="7576">
                  <c:v>29.24</c:v>
                </c:pt>
                <c:pt idx="7577">
                  <c:v>36.910000000000004</c:v>
                </c:pt>
                <c:pt idx="7578">
                  <c:v>44.99</c:v>
                </c:pt>
                <c:pt idx="7579">
                  <c:v>18.579999999999988</c:v>
                </c:pt>
                <c:pt idx="7580">
                  <c:v>15.23</c:v>
                </c:pt>
                <c:pt idx="7581">
                  <c:v>42.08</c:v>
                </c:pt>
                <c:pt idx="7582">
                  <c:v>39.86</c:v>
                </c:pt>
                <c:pt idx="7583">
                  <c:v>24.19</c:v>
                </c:pt>
                <c:pt idx="7584">
                  <c:v>41.52</c:v>
                </c:pt>
                <c:pt idx="7585">
                  <c:v>34.980000000000004</c:v>
                </c:pt>
                <c:pt idx="7586">
                  <c:v>57.51</c:v>
                </c:pt>
                <c:pt idx="7587">
                  <c:v>43.290000000000013</c:v>
                </c:pt>
                <c:pt idx="7588">
                  <c:v>45.02</c:v>
                </c:pt>
                <c:pt idx="7589">
                  <c:v>26.82</c:v>
                </c:pt>
                <c:pt idx="7590">
                  <c:v>42.91</c:v>
                </c:pt>
                <c:pt idx="7591">
                  <c:v>69.03</c:v>
                </c:pt>
                <c:pt idx="7592">
                  <c:v>30.27</c:v>
                </c:pt>
                <c:pt idx="7593">
                  <c:v>45.65</c:v>
                </c:pt>
                <c:pt idx="7594">
                  <c:v>42.96</c:v>
                </c:pt>
                <c:pt idx="7595">
                  <c:v>19.979999999999986</c:v>
                </c:pt>
                <c:pt idx="7596">
                  <c:v>26.99</c:v>
                </c:pt>
                <c:pt idx="7597">
                  <c:v>30.67</c:v>
                </c:pt>
                <c:pt idx="7598">
                  <c:v>31.32</c:v>
                </c:pt>
                <c:pt idx="7599">
                  <c:v>45.230000000000011</c:v>
                </c:pt>
                <c:pt idx="7600">
                  <c:v>62.97</c:v>
                </c:pt>
                <c:pt idx="7601">
                  <c:v>40.01</c:v>
                </c:pt>
                <c:pt idx="7602">
                  <c:v>36.78</c:v>
                </c:pt>
                <c:pt idx="7603">
                  <c:v>47.91</c:v>
                </c:pt>
                <c:pt idx="7604">
                  <c:v>30.21</c:v>
                </c:pt>
                <c:pt idx="7605">
                  <c:v>59.13</c:v>
                </c:pt>
                <c:pt idx="7606">
                  <c:v>28.279999999999987</c:v>
                </c:pt>
                <c:pt idx="7607">
                  <c:v>26.06</c:v>
                </c:pt>
                <c:pt idx="7608">
                  <c:v>44.95</c:v>
                </c:pt>
                <c:pt idx="7609">
                  <c:v>41.03</c:v>
                </c:pt>
                <c:pt idx="7610">
                  <c:v>30.110000000000021</c:v>
                </c:pt>
                <c:pt idx="7611">
                  <c:v>38.42</c:v>
                </c:pt>
                <c:pt idx="7612">
                  <c:v>23.919999999999987</c:v>
                </c:pt>
                <c:pt idx="7613">
                  <c:v>40.950000000000003</c:v>
                </c:pt>
                <c:pt idx="7614">
                  <c:v>23.21</c:v>
                </c:pt>
                <c:pt idx="7615">
                  <c:v>17.64</c:v>
                </c:pt>
                <c:pt idx="7616">
                  <c:v>31.27</c:v>
                </c:pt>
                <c:pt idx="7617">
                  <c:v>51.45</c:v>
                </c:pt>
                <c:pt idx="7618">
                  <c:v>31.29</c:v>
                </c:pt>
                <c:pt idx="7619">
                  <c:v>48.78</c:v>
                </c:pt>
                <c:pt idx="7620">
                  <c:v>21.31000000000002</c:v>
                </c:pt>
                <c:pt idx="7621">
                  <c:v>31.12</c:v>
                </c:pt>
                <c:pt idx="7622">
                  <c:v>27.49</c:v>
                </c:pt>
                <c:pt idx="7623">
                  <c:v>36.17</c:v>
                </c:pt>
                <c:pt idx="7624">
                  <c:v>24.03</c:v>
                </c:pt>
                <c:pt idx="7625">
                  <c:v>31.1</c:v>
                </c:pt>
                <c:pt idx="7626">
                  <c:v>33.050000000000004</c:v>
                </c:pt>
                <c:pt idx="7627">
                  <c:v>48.190000000000012</c:v>
                </c:pt>
                <c:pt idx="7628">
                  <c:v>44.15</c:v>
                </c:pt>
                <c:pt idx="7629">
                  <c:v>42.99</c:v>
                </c:pt>
                <c:pt idx="7630">
                  <c:v>33.230000000000011</c:v>
                </c:pt>
                <c:pt idx="7631">
                  <c:v>32.43</c:v>
                </c:pt>
                <c:pt idx="7632">
                  <c:v>25.919999999999987</c:v>
                </c:pt>
                <c:pt idx="7633">
                  <c:v>51.3</c:v>
                </c:pt>
                <c:pt idx="7634">
                  <c:v>31.29</c:v>
                </c:pt>
                <c:pt idx="7635">
                  <c:v>34.32</c:v>
                </c:pt>
                <c:pt idx="7636">
                  <c:v>36.03</c:v>
                </c:pt>
                <c:pt idx="7637">
                  <c:v>20.53</c:v>
                </c:pt>
                <c:pt idx="7638">
                  <c:v>60.03</c:v>
                </c:pt>
                <c:pt idx="7639">
                  <c:v>30.939999999999987</c:v>
                </c:pt>
                <c:pt idx="7640">
                  <c:v>28.13000000000002</c:v>
                </c:pt>
                <c:pt idx="7641">
                  <c:v>59.290000000000013</c:v>
                </c:pt>
                <c:pt idx="7642">
                  <c:v>22.81000000000002</c:v>
                </c:pt>
                <c:pt idx="7643">
                  <c:v>44.94</c:v>
                </c:pt>
                <c:pt idx="7644">
                  <c:v>44.760000000000012</c:v>
                </c:pt>
                <c:pt idx="7645">
                  <c:v>49.97</c:v>
                </c:pt>
                <c:pt idx="7646">
                  <c:v>22.64</c:v>
                </c:pt>
                <c:pt idx="7647">
                  <c:v>48.65</c:v>
                </c:pt>
                <c:pt idx="7648">
                  <c:v>28.91</c:v>
                </c:pt>
                <c:pt idx="7649">
                  <c:v>19.84</c:v>
                </c:pt>
                <c:pt idx="7650">
                  <c:v>25.22</c:v>
                </c:pt>
                <c:pt idx="7651">
                  <c:v>55.61</c:v>
                </c:pt>
                <c:pt idx="7652">
                  <c:v>29.19</c:v>
                </c:pt>
                <c:pt idx="7653">
                  <c:v>49.88</c:v>
                </c:pt>
                <c:pt idx="7654">
                  <c:v>46.43</c:v>
                </c:pt>
                <c:pt idx="7655">
                  <c:v>46.99</c:v>
                </c:pt>
                <c:pt idx="7656">
                  <c:v>33.53</c:v>
                </c:pt>
                <c:pt idx="7657">
                  <c:v>31.45</c:v>
                </c:pt>
                <c:pt idx="7658">
                  <c:v>51.99</c:v>
                </c:pt>
                <c:pt idx="7659">
                  <c:v>32.290000000000013</c:v>
                </c:pt>
                <c:pt idx="7660">
                  <c:v>29.49</c:v>
                </c:pt>
                <c:pt idx="7661">
                  <c:v>53.58</c:v>
                </c:pt>
                <c:pt idx="7662">
                  <c:v>28.69</c:v>
                </c:pt>
                <c:pt idx="7663">
                  <c:v>44.54</c:v>
                </c:pt>
                <c:pt idx="7664">
                  <c:v>38.82</c:v>
                </c:pt>
                <c:pt idx="7665">
                  <c:v>40.720000000000013</c:v>
                </c:pt>
                <c:pt idx="7666">
                  <c:v>28.68</c:v>
                </c:pt>
                <c:pt idx="7667">
                  <c:v>25.84</c:v>
                </c:pt>
                <c:pt idx="7668">
                  <c:v>27.63000000000002</c:v>
                </c:pt>
                <c:pt idx="7669">
                  <c:v>24.84</c:v>
                </c:pt>
                <c:pt idx="7670">
                  <c:v>61.760000000000012</c:v>
                </c:pt>
                <c:pt idx="7671">
                  <c:v>28.08</c:v>
                </c:pt>
                <c:pt idx="7672">
                  <c:v>27.08</c:v>
                </c:pt>
                <c:pt idx="7673">
                  <c:v>28.279999999999987</c:v>
                </c:pt>
                <c:pt idx="7674">
                  <c:v>40.85</c:v>
                </c:pt>
                <c:pt idx="7675">
                  <c:v>40.300000000000004</c:v>
                </c:pt>
                <c:pt idx="7676">
                  <c:v>34.89</c:v>
                </c:pt>
                <c:pt idx="7677">
                  <c:v>32.56</c:v>
                </c:pt>
                <c:pt idx="7678">
                  <c:v>54.01</c:v>
                </c:pt>
                <c:pt idx="7679">
                  <c:v>52.01</c:v>
                </c:pt>
                <c:pt idx="7680">
                  <c:v>29.14</c:v>
                </c:pt>
                <c:pt idx="7681">
                  <c:v>29.27</c:v>
                </c:pt>
                <c:pt idx="7682">
                  <c:v>32.620000000000012</c:v>
                </c:pt>
                <c:pt idx="7683">
                  <c:v>43.05</c:v>
                </c:pt>
                <c:pt idx="7684">
                  <c:v>42.4</c:v>
                </c:pt>
                <c:pt idx="7685">
                  <c:v>23.23</c:v>
                </c:pt>
                <c:pt idx="7686">
                  <c:v>33.04</c:v>
                </c:pt>
                <c:pt idx="7687">
                  <c:v>34.15</c:v>
                </c:pt>
                <c:pt idx="7688">
                  <c:v>17.420000000000002</c:v>
                </c:pt>
                <c:pt idx="7689">
                  <c:v>22.05</c:v>
                </c:pt>
                <c:pt idx="7690">
                  <c:v>51.54</c:v>
                </c:pt>
                <c:pt idx="7691">
                  <c:v>30.03</c:v>
                </c:pt>
                <c:pt idx="7692">
                  <c:v>65.11999999999999</c:v>
                </c:pt>
                <c:pt idx="7693">
                  <c:v>47.57</c:v>
                </c:pt>
                <c:pt idx="7694">
                  <c:v>55.93</c:v>
                </c:pt>
                <c:pt idx="7695">
                  <c:v>59.94</c:v>
                </c:pt>
                <c:pt idx="7696">
                  <c:v>28.88</c:v>
                </c:pt>
                <c:pt idx="7697">
                  <c:v>15.91</c:v>
                </c:pt>
                <c:pt idx="7698">
                  <c:v>45.96</c:v>
                </c:pt>
                <c:pt idx="7699">
                  <c:v>44.54</c:v>
                </c:pt>
                <c:pt idx="7700">
                  <c:v>25.88</c:v>
                </c:pt>
                <c:pt idx="7701">
                  <c:v>41.02</c:v>
                </c:pt>
                <c:pt idx="7702">
                  <c:v>33.42</c:v>
                </c:pt>
                <c:pt idx="7703">
                  <c:v>27.52</c:v>
                </c:pt>
                <c:pt idx="7704">
                  <c:v>43.06</c:v>
                </c:pt>
                <c:pt idx="7705">
                  <c:v>30.49</c:v>
                </c:pt>
                <c:pt idx="7706">
                  <c:v>16.07</c:v>
                </c:pt>
                <c:pt idx="7707">
                  <c:v>40.200000000000003</c:v>
                </c:pt>
                <c:pt idx="7708">
                  <c:v>37.83</c:v>
                </c:pt>
                <c:pt idx="7709">
                  <c:v>34.36</c:v>
                </c:pt>
                <c:pt idx="7710">
                  <c:v>46.01</c:v>
                </c:pt>
                <c:pt idx="7711">
                  <c:v>28.12</c:v>
                </c:pt>
                <c:pt idx="7712">
                  <c:v>59.01</c:v>
                </c:pt>
                <c:pt idx="7713">
                  <c:v>29.95</c:v>
                </c:pt>
                <c:pt idx="7714">
                  <c:v>35.92</c:v>
                </c:pt>
                <c:pt idx="7715">
                  <c:v>28.53</c:v>
                </c:pt>
                <c:pt idx="7716">
                  <c:v>37.950000000000003</c:v>
                </c:pt>
                <c:pt idx="7717">
                  <c:v>39.980000000000004</c:v>
                </c:pt>
                <c:pt idx="7718">
                  <c:v>31.08</c:v>
                </c:pt>
                <c:pt idx="7719">
                  <c:v>23.330000000000005</c:v>
                </c:pt>
                <c:pt idx="7720">
                  <c:v>51.54</c:v>
                </c:pt>
                <c:pt idx="7721">
                  <c:v>37.61</c:v>
                </c:pt>
                <c:pt idx="7722">
                  <c:v>14.93</c:v>
                </c:pt>
                <c:pt idx="7723">
                  <c:v>27.01</c:v>
                </c:pt>
                <c:pt idx="7724">
                  <c:v>30.93</c:v>
                </c:pt>
                <c:pt idx="7725">
                  <c:v>38.06</c:v>
                </c:pt>
                <c:pt idx="7726">
                  <c:v>33.42</c:v>
                </c:pt>
                <c:pt idx="7727">
                  <c:v>45.44</c:v>
                </c:pt>
                <c:pt idx="7728">
                  <c:v>16.010000000000005</c:v>
                </c:pt>
                <c:pt idx="7729">
                  <c:v>46.01</c:v>
                </c:pt>
                <c:pt idx="7730">
                  <c:v>36.04</c:v>
                </c:pt>
                <c:pt idx="7731">
                  <c:v>66.98</c:v>
                </c:pt>
                <c:pt idx="7732">
                  <c:v>32.08</c:v>
                </c:pt>
                <c:pt idx="7733">
                  <c:v>38.450000000000003</c:v>
                </c:pt>
                <c:pt idx="7734">
                  <c:v>49.99</c:v>
                </c:pt>
                <c:pt idx="7735">
                  <c:v>29.63000000000002</c:v>
                </c:pt>
                <c:pt idx="7736">
                  <c:v>37.260000000000012</c:v>
                </c:pt>
                <c:pt idx="7737">
                  <c:v>25.34</c:v>
                </c:pt>
                <c:pt idx="7738">
                  <c:v>36.760000000000012</c:v>
                </c:pt>
                <c:pt idx="7739">
                  <c:v>19.170000000000005</c:v>
                </c:pt>
                <c:pt idx="7740">
                  <c:v>22.09</c:v>
                </c:pt>
                <c:pt idx="7741">
                  <c:v>45.54</c:v>
                </c:pt>
                <c:pt idx="7742">
                  <c:v>25.41</c:v>
                </c:pt>
                <c:pt idx="7743">
                  <c:v>28.97</c:v>
                </c:pt>
                <c:pt idx="7744">
                  <c:v>30.53</c:v>
                </c:pt>
                <c:pt idx="7745">
                  <c:v>51.05</c:v>
                </c:pt>
                <c:pt idx="7746">
                  <c:v>46.47</c:v>
                </c:pt>
                <c:pt idx="7747">
                  <c:v>65.05</c:v>
                </c:pt>
                <c:pt idx="7748">
                  <c:v>34</c:v>
                </c:pt>
                <c:pt idx="7749">
                  <c:v>57.82</c:v>
                </c:pt>
                <c:pt idx="7750">
                  <c:v>15.04</c:v>
                </c:pt>
                <c:pt idx="7751">
                  <c:v>39.33</c:v>
                </c:pt>
                <c:pt idx="7752">
                  <c:v>17.920000000000002</c:v>
                </c:pt>
                <c:pt idx="7753">
                  <c:v>32.44</c:v>
                </c:pt>
                <c:pt idx="7754">
                  <c:v>29.84</c:v>
                </c:pt>
                <c:pt idx="7755">
                  <c:v>30.02</c:v>
                </c:pt>
                <c:pt idx="7756">
                  <c:v>42.07</c:v>
                </c:pt>
                <c:pt idx="7757">
                  <c:v>40.480000000000004</c:v>
                </c:pt>
                <c:pt idx="7758">
                  <c:v>22.24</c:v>
                </c:pt>
                <c:pt idx="7759">
                  <c:v>19.309999999999999</c:v>
                </c:pt>
                <c:pt idx="7760">
                  <c:v>46.720000000000013</c:v>
                </c:pt>
                <c:pt idx="7761">
                  <c:v>35.53</c:v>
                </c:pt>
                <c:pt idx="7762">
                  <c:v>33.96</c:v>
                </c:pt>
                <c:pt idx="7763">
                  <c:v>30.52</c:v>
                </c:pt>
                <c:pt idx="7764">
                  <c:v>52.25</c:v>
                </c:pt>
                <c:pt idx="7765">
                  <c:v>46.98</c:v>
                </c:pt>
                <c:pt idx="7766">
                  <c:v>38.61</c:v>
                </c:pt>
                <c:pt idx="7767">
                  <c:v>55.09</c:v>
                </c:pt>
                <c:pt idx="7768">
                  <c:v>18.010000000000005</c:v>
                </c:pt>
                <c:pt idx="7769">
                  <c:v>40.410000000000004</c:v>
                </c:pt>
                <c:pt idx="7770">
                  <c:v>27.58</c:v>
                </c:pt>
                <c:pt idx="7771">
                  <c:v>17.959999999999987</c:v>
                </c:pt>
                <c:pt idx="7772">
                  <c:v>36.97</c:v>
                </c:pt>
                <c:pt idx="7773">
                  <c:v>36.53</c:v>
                </c:pt>
                <c:pt idx="7774">
                  <c:v>53.93</c:v>
                </c:pt>
                <c:pt idx="7775">
                  <c:v>34.380000000000003</c:v>
                </c:pt>
                <c:pt idx="7776">
                  <c:v>33.720000000000013</c:v>
                </c:pt>
                <c:pt idx="7777">
                  <c:v>30.01</c:v>
                </c:pt>
                <c:pt idx="7778">
                  <c:v>25.54</c:v>
                </c:pt>
                <c:pt idx="7779">
                  <c:v>31</c:v>
                </c:pt>
                <c:pt idx="7780">
                  <c:v>56</c:v>
                </c:pt>
                <c:pt idx="7781">
                  <c:v>44.92</c:v>
                </c:pt>
                <c:pt idx="7782">
                  <c:v>24.979999999999986</c:v>
                </c:pt>
                <c:pt idx="7783">
                  <c:v>26.89</c:v>
                </c:pt>
                <c:pt idx="7784">
                  <c:v>29.779999999999987</c:v>
                </c:pt>
                <c:pt idx="7785">
                  <c:v>23.99</c:v>
                </c:pt>
                <c:pt idx="7786">
                  <c:v>38.550000000000004</c:v>
                </c:pt>
                <c:pt idx="7787">
                  <c:v>46.660000000000011</c:v>
                </c:pt>
                <c:pt idx="7788">
                  <c:v>47.660000000000011</c:v>
                </c:pt>
                <c:pt idx="7789">
                  <c:v>37.47</c:v>
                </c:pt>
                <c:pt idx="7790">
                  <c:v>34.770000000000003</c:v>
                </c:pt>
                <c:pt idx="7791">
                  <c:v>53.45</c:v>
                </c:pt>
                <c:pt idx="7792">
                  <c:v>16.100000000000001</c:v>
                </c:pt>
                <c:pt idx="7793">
                  <c:v>33.870000000000005</c:v>
                </c:pt>
                <c:pt idx="7794">
                  <c:v>41.53</c:v>
                </c:pt>
                <c:pt idx="7795">
                  <c:v>27.1</c:v>
                </c:pt>
                <c:pt idx="7796">
                  <c:v>45.99</c:v>
                </c:pt>
                <c:pt idx="7797">
                  <c:v>28.65000000000002</c:v>
                </c:pt>
                <c:pt idx="7798">
                  <c:v>29.479999999999986</c:v>
                </c:pt>
                <c:pt idx="7799">
                  <c:v>29.03</c:v>
                </c:pt>
                <c:pt idx="7800">
                  <c:v>31.68</c:v>
                </c:pt>
                <c:pt idx="7801">
                  <c:v>38.82</c:v>
                </c:pt>
                <c:pt idx="7802">
                  <c:v>30.479999999999986</c:v>
                </c:pt>
                <c:pt idx="7803">
                  <c:v>18.959999999999987</c:v>
                </c:pt>
                <c:pt idx="7804">
                  <c:v>58.620000000000012</c:v>
                </c:pt>
                <c:pt idx="7805">
                  <c:v>36.910000000000004</c:v>
                </c:pt>
                <c:pt idx="7806">
                  <c:v>28.9</c:v>
                </c:pt>
                <c:pt idx="7807">
                  <c:v>31.24</c:v>
                </c:pt>
                <c:pt idx="7808">
                  <c:v>31.88</c:v>
                </c:pt>
                <c:pt idx="7809">
                  <c:v>52.14</c:v>
                </c:pt>
                <c:pt idx="7810">
                  <c:v>31.4</c:v>
                </c:pt>
                <c:pt idx="7811">
                  <c:v>35.94</c:v>
                </c:pt>
                <c:pt idx="7812">
                  <c:v>32.01</c:v>
                </c:pt>
                <c:pt idx="7813">
                  <c:v>34.54</c:v>
                </c:pt>
                <c:pt idx="7814">
                  <c:v>38.93</c:v>
                </c:pt>
                <c:pt idx="7815">
                  <c:v>21.1</c:v>
                </c:pt>
                <c:pt idx="7816">
                  <c:v>34.92</c:v>
                </c:pt>
                <c:pt idx="7817">
                  <c:v>42.85</c:v>
                </c:pt>
                <c:pt idx="7818">
                  <c:v>54.8</c:v>
                </c:pt>
                <c:pt idx="7819">
                  <c:v>35.93</c:v>
                </c:pt>
                <c:pt idx="7820">
                  <c:v>24.05</c:v>
                </c:pt>
                <c:pt idx="7821">
                  <c:v>42.94</c:v>
                </c:pt>
                <c:pt idx="7822">
                  <c:v>26.93</c:v>
                </c:pt>
                <c:pt idx="7823">
                  <c:v>35.01</c:v>
                </c:pt>
                <c:pt idx="7824">
                  <c:v>29.5</c:v>
                </c:pt>
                <c:pt idx="7825">
                  <c:v>54.38</c:v>
                </c:pt>
                <c:pt idx="7826">
                  <c:v>43.03</c:v>
                </c:pt>
                <c:pt idx="7827">
                  <c:v>56</c:v>
                </c:pt>
                <c:pt idx="7828">
                  <c:v>26.330000000000005</c:v>
                </c:pt>
                <c:pt idx="7829">
                  <c:v>35.020000000000003</c:v>
                </c:pt>
                <c:pt idx="7830">
                  <c:v>56.6</c:v>
                </c:pt>
                <c:pt idx="7831">
                  <c:v>56.620000000000012</c:v>
                </c:pt>
                <c:pt idx="7832">
                  <c:v>26.8</c:v>
                </c:pt>
                <c:pt idx="7833">
                  <c:v>43.09</c:v>
                </c:pt>
                <c:pt idx="7834">
                  <c:v>20.959999999999987</c:v>
                </c:pt>
                <c:pt idx="7835">
                  <c:v>33.93</c:v>
                </c:pt>
                <c:pt idx="7836">
                  <c:v>24.45</c:v>
                </c:pt>
                <c:pt idx="7837">
                  <c:v>30.959999999999987</c:v>
                </c:pt>
                <c:pt idx="7838">
                  <c:v>53.53</c:v>
                </c:pt>
                <c:pt idx="7839">
                  <c:v>44.83</c:v>
                </c:pt>
                <c:pt idx="7840">
                  <c:v>34.67</c:v>
                </c:pt>
                <c:pt idx="7841">
                  <c:v>30.24</c:v>
                </c:pt>
                <c:pt idx="7842">
                  <c:v>27.34</c:v>
                </c:pt>
                <c:pt idx="7843">
                  <c:v>36.590000000000003</c:v>
                </c:pt>
                <c:pt idx="7844">
                  <c:v>36.24</c:v>
                </c:pt>
                <c:pt idx="7845">
                  <c:v>23.15000000000002</c:v>
                </c:pt>
                <c:pt idx="7846">
                  <c:v>24.23</c:v>
                </c:pt>
                <c:pt idx="7847">
                  <c:v>49.92</c:v>
                </c:pt>
                <c:pt idx="7848">
                  <c:v>43.51</c:v>
                </c:pt>
                <c:pt idx="7849">
                  <c:v>19.979999999999986</c:v>
                </c:pt>
                <c:pt idx="7850">
                  <c:v>20.919999999999987</c:v>
                </c:pt>
                <c:pt idx="7851">
                  <c:v>59.37</c:v>
                </c:pt>
                <c:pt idx="7852">
                  <c:v>53.42</c:v>
                </c:pt>
                <c:pt idx="7853">
                  <c:v>62.160000000000011</c:v>
                </c:pt>
                <c:pt idx="7854">
                  <c:v>23.8</c:v>
                </c:pt>
                <c:pt idx="7855">
                  <c:v>55.25</c:v>
                </c:pt>
                <c:pt idx="7856">
                  <c:v>30.9</c:v>
                </c:pt>
                <c:pt idx="7857">
                  <c:v>49.05</c:v>
                </c:pt>
                <c:pt idx="7858">
                  <c:v>31.62</c:v>
                </c:pt>
                <c:pt idx="7859">
                  <c:v>31.479999999999986</c:v>
                </c:pt>
                <c:pt idx="7860">
                  <c:v>30.87</c:v>
                </c:pt>
                <c:pt idx="7861">
                  <c:v>29.58</c:v>
                </c:pt>
                <c:pt idx="7862">
                  <c:v>31.49</c:v>
                </c:pt>
                <c:pt idx="7863">
                  <c:v>38.9</c:v>
                </c:pt>
                <c:pt idx="7864">
                  <c:v>28.41</c:v>
                </c:pt>
                <c:pt idx="7865">
                  <c:v>37.760000000000012</c:v>
                </c:pt>
                <c:pt idx="7866">
                  <c:v>49.94</c:v>
                </c:pt>
                <c:pt idx="7867">
                  <c:v>20.479999999999986</c:v>
                </c:pt>
                <c:pt idx="7868">
                  <c:v>55.99</c:v>
                </c:pt>
                <c:pt idx="7869">
                  <c:v>25.84</c:v>
                </c:pt>
                <c:pt idx="7870">
                  <c:v>46.92</c:v>
                </c:pt>
                <c:pt idx="7871">
                  <c:v>56.36</c:v>
                </c:pt>
                <c:pt idx="7872">
                  <c:v>30.9</c:v>
                </c:pt>
                <c:pt idx="7873">
                  <c:v>43.98</c:v>
                </c:pt>
                <c:pt idx="7874">
                  <c:v>49.95</c:v>
                </c:pt>
                <c:pt idx="7875">
                  <c:v>29.91</c:v>
                </c:pt>
                <c:pt idx="7876">
                  <c:v>47.91</c:v>
                </c:pt>
                <c:pt idx="7877">
                  <c:v>37.17</c:v>
                </c:pt>
                <c:pt idx="7878">
                  <c:v>42.77</c:v>
                </c:pt>
                <c:pt idx="7879">
                  <c:v>42.290000000000013</c:v>
                </c:pt>
                <c:pt idx="7880">
                  <c:v>50</c:v>
                </c:pt>
                <c:pt idx="7881">
                  <c:v>52.46</c:v>
                </c:pt>
                <c:pt idx="7882">
                  <c:v>44.730000000000011</c:v>
                </c:pt>
                <c:pt idx="7883">
                  <c:v>54.01</c:v>
                </c:pt>
                <c:pt idx="7884">
                  <c:v>29.85</c:v>
                </c:pt>
                <c:pt idx="7885">
                  <c:v>60.42</c:v>
                </c:pt>
                <c:pt idx="7886">
                  <c:v>32.980000000000004</c:v>
                </c:pt>
                <c:pt idx="7887">
                  <c:v>40.5</c:v>
                </c:pt>
                <c:pt idx="7888">
                  <c:v>19.059999999999999</c:v>
                </c:pt>
                <c:pt idx="7889">
                  <c:v>24.7</c:v>
                </c:pt>
                <c:pt idx="7890">
                  <c:v>32.99</c:v>
                </c:pt>
                <c:pt idx="7891">
                  <c:v>27.66</c:v>
                </c:pt>
                <c:pt idx="7892">
                  <c:v>38.17</c:v>
                </c:pt>
                <c:pt idx="7893">
                  <c:v>39.11</c:v>
                </c:pt>
                <c:pt idx="7894">
                  <c:v>28.79</c:v>
                </c:pt>
                <c:pt idx="7895">
                  <c:v>52.4</c:v>
                </c:pt>
                <c:pt idx="7896">
                  <c:v>50.03</c:v>
                </c:pt>
                <c:pt idx="7897">
                  <c:v>27.459999999999987</c:v>
                </c:pt>
                <c:pt idx="7898">
                  <c:v>20.3</c:v>
                </c:pt>
                <c:pt idx="7899">
                  <c:v>42.85</c:v>
                </c:pt>
                <c:pt idx="7900">
                  <c:v>26.97</c:v>
                </c:pt>
                <c:pt idx="7901">
                  <c:v>46.790000000000013</c:v>
                </c:pt>
                <c:pt idx="7902">
                  <c:v>27.84</c:v>
                </c:pt>
                <c:pt idx="7903">
                  <c:v>26.68</c:v>
                </c:pt>
                <c:pt idx="7904">
                  <c:v>34.58</c:v>
                </c:pt>
                <c:pt idx="7905">
                  <c:v>31.959999999999987</c:v>
                </c:pt>
                <c:pt idx="7906">
                  <c:v>58.39</c:v>
                </c:pt>
                <c:pt idx="7907">
                  <c:v>22.18</c:v>
                </c:pt>
                <c:pt idx="7908">
                  <c:v>33.730000000000011</c:v>
                </c:pt>
                <c:pt idx="7909">
                  <c:v>39.64</c:v>
                </c:pt>
                <c:pt idx="7910">
                  <c:v>31.1</c:v>
                </c:pt>
                <c:pt idx="7911">
                  <c:v>24.330000000000005</c:v>
                </c:pt>
                <c:pt idx="7912">
                  <c:v>62.59</c:v>
                </c:pt>
                <c:pt idx="7913">
                  <c:v>23.52</c:v>
                </c:pt>
                <c:pt idx="7914">
                  <c:v>33.97</c:v>
                </c:pt>
                <c:pt idx="7915">
                  <c:v>33.36</c:v>
                </c:pt>
                <c:pt idx="7916">
                  <c:v>41.65</c:v>
                </c:pt>
                <c:pt idx="7917">
                  <c:v>28.06</c:v>
                </c:pt>
                <c:pt idx="7918">
                  <c:v>49.63</c:v>
                </c:pt>
                <c:pt idx="7919">
                  <c:v>40</c:v>
                </c:pt>
                <c:pt idx="7920">
                  <c:v>22.09</c:v>
                </c:pt>
                <c:pt idx="7921">
                  <c:v>23.939999999999987</c:v>
                </c:pt>
                <c:pt idx="7922">
                  <c:v>17.329999999999988</c:v>
                </c:pt>
                <c:pt idx="7923">
                  <c:v>22.66</c:v>
                </c:pt>
                <c:pt idx="7924">
                  <c:v>27.330000000000005</c:v>
                </c:pt>
                <c:pt idx="7925">
                  <c:v>41</c:v>
                </c:pt>
                <c:pt idx="7926">
                  <c:v>34.020000000000003</c:v>
                </c:pt>
                <c:pt idx="7927">
                  <c:v>17.649999999999999</c:v>
                </c:pt>
                <c:pt idx="7928">
                  <c:v>43.93</c:v>
                </c:pt>
                <c:pt idx="7929">
                  <c:v>47.92</c:v>
                </c:pt>
                <c:pt idx="7930">
                  <c:v>55.78</c:v>
                </c:pt>
                <c:pt idx="7931">
                  <c:v>32.340000000000003</c:v>
                </c:pt>
                <c:pt idx="7932">
                  <c:v>23.49</c:v>
                </c:pt>
                <c:pt idx="7933">
                  <c:v>30.919999999999987</c:v>
                </c:pt>
                <c:pt idx="7934">
                  <c:v>32.24</c:v>
                </c:pt>
                <c:pt idx="7935">
                  <c:v>29.57</c:v>
                </c:pt>
                <c:pt idx="7936">
                  <c:v>26.82</c:v>
                </c:pt>
                <c:pt idx="7937">
                  <c:v>29.03</c:v>
                </c:pt>
                <c:pt idx="7938">
                  <c:v>41.64</c:v>
                </c:pt>
                <c:pt idx="7939">
                  <c:v>51.05</c:v>
                </c:pt>
                <c:pt idx="7940">
                  <c:v>30.02</c:v>
                </c:pt>
                <c:pt idx="7941">
                  <c:v>31.18</c:v>
                </c:pt>
                <c:pt idx="7942">
                  <c:v>24.59</c:v>
                </c:pt>
                <c:pt idx="7943">
                  <c:v>39.97</c:v>
                </c:pt>
                <c:pt idx="7944">
                  <c:v>47.08</c:v>
                </c:pt>
                <c:pt idx="7945">
                  <c:v>29.95</c:v>
                </c:pt>
                <c:pt idx="7946">
                  <c:v>32.950000000000003</c:v>
                </c:pt>
                <c:pt idx="7947">
                  <c:v>26.02</c:v>
                </c:pt>
                <c:pt idx="7948">
                  <c:v>38.43</c:v>
                </c:pt>
                <c:pt idx="7949">
                  <c:v>49.96</c:v>
                </c:pt>
                <c:pt idx="7950">
                  <c:v>56.92</c:v>
                </c:pt>
                <c:pt idx="7951">
                  <c:v>55.63</c:v>
                </c:pt>
                <c:pt idx="7952">
                  <c:v>52.95</c:v>
                </c:pt>
                <c:pt idx="7953">
                  <c:v>29.75</c:v>
                </c:pt>
                <c:pt idx="7954">
                  <c:v>75.86999999999999</c:v>
                </c:pt>
                <c:pt idx="7955">
                  <c:v>20.239999999999988</c:v>
                </c:pt>
                <c:pt idx="7956">
                  <c:v>54.98</c:v>
                </c:pt>
                <c:pt idx="7957">
                  <c:v>33.92</c:v>
                </c:pt>
                <c:pt idx="7958">
                  <c:v>56.49</c:v>
                </c:pt>
                <c:pt idx="7959">
                  <c:v>33.620000000000012</c:v>
                </c:pt>
                <c:pt idx="7960">
                  <c:v>35.4</c:v>
                </c:pt>
                <c:pt idx="7961">
                  <c:v>24.67</c:v>
                </c:pt>
                <c:pt idx="7962">
                  <c:v>57.34</c:v>
                </c:pt>
                <c:pt idx="7963">
                  <c:v>41.220000000000013</c:v>
                </c:pt>
                <c:pt idx="7964">
                  <c:v>32.340000000000003</c:v>
                </c:pt>
                <c:pt idx="7965">
                  <c:v>24.22</c:v>
                </c:pt>
                <c:pt idx="7966">
                  <c:v>36.44</c:v>
                </c:pt>
                <c:pt idx="7967">
                  <c:v>21.939999999999987</c:v>
                </c:pt>
                <c:pt idx="7968">
                  <c:v>35.44</c:v>
                </c:pt>
                <c:pt idx="7969">
                  <c:v>29.67</c:v>
                </c:pt>
                <c:pt idx="7970">
                  <c:v>41.97</c:v>
                </c:pt>
                <c:pt idx="7971">
                  <c:v>30.62</c:v>
                </c:pt>
                <c:pt idx="7972">
                  <c:v>33.94</c:v>
                </c:pt>
                <c:pt idx="7973">
                  <c:v>68.34</c:v>
                </c:pt>
                <c:pt idx="7974">
                  <c:v>42.59</c:v>
                </c:pt>
                <c:pt idx="7975">
                  <c:v>32.840000000000003</c:v>
                </c:pt>
                <c:pt idx="7976">
                  <c:v>39.03</c:v>
                </c:pt>
                <c:pt idx="7977">
                  <c:v>32.25</c:v>
                </c:pt>
                <c:pt idx="7978">
                  <c:v>59.15</c:v>
                </c:pt>
                <c:pt idx="7979">
                  <c:v>56.25</c:v>
                </c:pt>
                <c:pt idx="7980">
                  <c:v>31.41</c:v>
                </c:pt>
                <c:pt idx="7981">
                  <c:v>42.06</c:v>
                </c:pt>
                <c:pt idx="7982">
                  <c:v>43.09</c:v>
                </c:pt>
                <c:pt idx="7983">
                  <c:v>33.93</c:v>
                </c:pt>
                <c:pt idx="7984">
                  <c:v>17.07</c:v>
                </c:pt>
                <c:pt idx="7985">
                  <c:v>54.96</c:v>
                </c:pt>
                <c:pt idx="7986">
                  <c:v>40.9</c:v>
                </c:pt>
                <c:pt idx="7987">
                  <c:v>16.18</c:v>
                </c:pt>
                <c:pt idx="7988">
                  <c:v>23.05</c:v>
                </c:pt>
                <c:pt idx="7989">
                  <c:v>22.02</c:v>
                </c:pt>
                <c:pt idx="7990">
                  <c:v>47.56</c:v>
                </c:pt>
                <c:pt idx="7991">
                  <c:v>16.14</c:v>
                </c:pt>
                <c:pt idx="7992">
                  <c:v>43.31</c:v>
                </c:pt>
                <c:pt idx="7993">
                  <c:v>36.6</c:v>
                </c:pt>
                <c:pt idx="7994">
                  <c:v>20.05</c:v>
                </c:pt>
                <c:pt idx="7995">
                  <c:v>29.57</c:v>
                </c:pt>
                <c:pt idx="7996">
                  <c:v>67.739999999999995</c:v>
                </c:pt>
                <c:pt idx="7997">
                  <c:v>35.06</c:v>
                </c:pt>
                <c:pt idx="7998">
                  <c:v>33.020000000000003</c:v>
                </c:pt>
                <c:pt idx="7999">
                  <c:v>49.91</c:v>
                </c:pt>
                <c:pt idx="8000">
                  <c:v>30.56</c:v>
                </c:pt>
                <c:pt idx="8001">
                  <c:v>31.47</c:v>
                </c:pt>
                <c:pt idx="8002">
                  <c:v>29.97</c:v>
                </c:pt>
                <c:pt idx="8003">
                  <c:v>47.99</c:v>
                </c:pt>
                <c:pt idx="8004">
                  <c:v>52.07</c:v>
                </c:pt>
                <c:pt idx="8005">
                  <c:v>24.09</c:v>
                </c:pt>
                <c:pt idx="8006">
                  <c:v>45.46</c:v>
                </c:pt>
                <c:pt idx="8007">
                  <c:v>43.32</c:v>
                </c:pt>
                <c:pt idx="8008">
                  <c:v>14.56</c:v>
                </c:pt>
                <c:pt idx="8009">
                  <c:v>44.11</c:v>
                </c:pt>
                <c:pt idx="8010">
                  <c:v>29.72</c:v>
                </c:pt>
                <c:pt idx="8011">
                  <c:v>50.04</c:v>
                </c:pt>
                <c:pt idx="8012">
                  <c:v>33.950000000000003</c:v>
                </c:pt>
                <c:pt idx="8013">
                  <c:v>24.9</c:v>
                </c:pt>
                <c:pt idx="8014">
                  <c:v>39.9</c:v>
                </c:pt>
                <c:pt idx="8015">
                  <c:v>58.94</c:v>
                </c:pt>
                <c:pt idx="8016">
                  <c:v>32.770000000000003</c:v>
                </c:pt>
                <c:pt idx="8017">
                  <c:v>26.4</c:v>
                </c:pt>
                <c:pt idx="8018">
                  <c:v>54.87</c:v>
                </c:pt>
                <c:pt idx="8019">
                  <c:v>36.92</c:v>
                </c:pt>
                <c:pt idx="8020">
                  <c:v>53.39</c:v>
                </c:pt>
                <c:pt idx="8021">
                  <c:v>35.83</c:v>
                </c:pt>
                <c:pt idx="8022">
                  <c:v>58.04</c:v>
                </c:pt>
                <c:pt idx="8023">
                  <c:v>48.92</c:v>
                </c:pt>
                <c:pt idx="8024">
                  <c:v>25.25</c:v>
                </c:pt>
                <c:pt idx="8025">
                  <c:v>52.49</c:v>
                </c:pt>
                <c:pt idx="8026">
                  <c:v>47.98</c:v>
                </c:pt>
                <c:pt idx="8027">
                  <c:v>61.95</c:v>
                </c:pt>
                <c:pt idx="8028">
                  <c:v>52.81</c:v>
                </c:pt>
                <c:pt idx="8029">
                  <c:v>50.78</c:v>
                </c:pt>
                <c:pt idx="8030">
                  <c:v>34.550000000000004</c:v>
                </c:pt>
                <c:pt idx="8031">
                  <c:v>43.98</c:v>
                </c:pt>
                <c:pt idx="8032">
                  <c:v>40.83</c:v>
                </c:pt>
                <c:pt idx="8033">
                  <c:v>15.58</c:v>
                </c:pt>
                <c:pt idx="8034">
                  <c:v>30.07</c:v>
                </c:pt>
                <c:pt idx="8035">
                  <c:v>37</c:v>
                </c:pt>
                <c:pt idx="8036">
                  <c:v>32.49</c:v>
                </c:pt>
                <c:pt idx="8037">
                  <c:v>36.92</c:v>
                </c:pt>
                <c:pt idx="8038">
                  <c:v>30.47</c:v>
                </c:pt>
                <c:pt idx="8039">
                  <c:v>32.21</c:v>
                </c:pt>
                <c:pt idx="8040">
                  <c:v>42.98</c:v>
                </c:pt>
                <c:pt idx="8041">
                  <c:v>23.939999999999987</c:v>
                </c:pt>
                <c:pt idx="8042">
                  <c:v>35.21</c:v>
                </c:pt>
                <c:pt idx="8043">
                  <c:v>26.21</c:v>
                </c:pt>
                <c:pt idx="8044">
                  <c:v>56.03</c:v>
                </c:pt>
                <c:pt idx="8045">
                  <c:v>22.939999999999987</c:v>
                </c:pt>
                <c:pt idx="8046">
                  <c:v>50.220000000000013</c:v>
                </c:pt>
                <c:pt idx="8047">
                  <c:v>22.330000000000005</c:v>
                </c:pt>
                <c:pt idx="8048">
                  <c:v>29.55</c:v>
                </c:pt>
                <c:pt idx="8049">
                  <c:v>34.04</c:v>
                </c:pt>
                <c:pt idx="8050">
                  <c:v>54.120000000000012</c:v>
                </c:pt>
                <c:pt idx="8051">
                  <c:v>28.58</c:v>
                </c:pt>
                <c:pt idx="8052">
                  <c:v>45.53</c:v>
                </c:pt>
                <c:pt idx="8053">
                  <c:v>29.39</c:v>
                </c:pt>
                <c:pt idx="8054">
                  <c:v>21.62</c:v>
                </c:pt>
                <c:pt idx="8055">
                  <c:v>36.07</c:v>
                </c:pt>
                <c:pt idx="8056">
                  <c:v>44.02</c:v>
                </c:pt>
                <c:pt idx="8057">
                  <c:v>62.730000000000011</c:v>
                </c:pt>
                <c:pt idx="8058">
                  <c:v>35.9</c:v>
                </c:pt>
                <c:pt idx="8059">
                  <c:v>18.23</c:v>
                </c:pt>
                <c:pt idx="8060">
                  <c:v>33.290000000000013</c:v>
                </c:pt>
                <c:pt idx="8061">
                  <c:v>36.92</c:v>
                </c:pt>
                <c:pt idx="8062">
                  <c:v>54.260000000000012</c:v>
                </c:pt>
                <c:pt idx="8063">
                  <c:v>43.9</c:v>
                </c:pt>
                <c:pt idx="8064">
                  <c:v>36.93</c:v>
                </c:pt>
                <c:pt idx="8065">
                  <c:v>32.130000000000003</c:v>
                </c:pt>
                <c:pt idx="8066">
                  <c:v>61.1</c:v>
                </c:pt>
                <c:pt idx="8067">
                  <c:v>37.81</c:v>
                </c:pt>
                <c:pt idx="8068">
                  <c:v>46.78</c:v>
                </c:pt>
                <c:pt idx="8069">
                  <c:v>25.66</c:v>
                </c:pt>
                <c:pt idx="8070">
                  <c:v>28.86</c:v>
                </c:pt>
                <c:pt idx="8071">
                  <c:v>42.1</c:v>
                </c:pt>
                <c:pt idx="8072">
                  <c:v>31.03</c:v>
                </c:pt>
                <c:pt idx="8073">
                  <c:v>24.36</c:v>
                </c:pt>
                <c:pt idx="8074">
                  <c:v>25.279999999999987</c:v>
                </c:pt>
                <c:pt idx="8075">
                  <c:v>47</c:v>
                </c:pt>
                <c:pt idx="8076">
                  <c:v>35.980000000000004</c:v>
                </c:pt>
                <c:pt idx="8077">
                  <c:v>19.979999999999986</c:v>
                </c:pt>
                <c:pt idx="8078">
                  <c:v>28.01</c:v>
                </c:pt>
                <c:pt idx="8079">
                  <c:v>51.92</c:v>
                </c:pt>
                <c:pt idx="8080">
                  <c:v>40.99</c:v>
                </c:pt>
                <c:pt idx="8081">
                  <c:v>18.29</c:v>
                </c:pt>
                <c:pt idx="8082">
                  <c:v>23.14</c:v>
                </c:pt>
                <c:pt idx="8083">
                  <c:v>23.53</c:v>
                </c:pt>
                <c:pt idx="8084">
                  <c:v>19.37</c:v>
                </c:pt>
                <c:pt idx="8085">
                  <c:v>28.779999999999987</c:v>
                </c:pt>
                <c:pt idx="8086">
                  <c:v>23.74</c:v>
                </c:pt>
                <c:pt idx="8087">
                  <c:v>69.940000000000026</c:v>
                </c:pt>
                <c:pt idx="8088">
                  <c:v>49.620000000000012</c:v>
                </c:pt>
                <c:pt idx="8089">
                  <c:v>39.980000000000004</c:v>
                </c:pt>
                <c:pt idx="8090">
                  <c:v>41.01</c:v>
                </c:pt>
                <c:pt idx="8091">
                  <c:v>44.48</c:v>
                </c:pt>
                <c:pt idx="8092">
                  <c:v>20.3</c:v>
                </c:pt>
                <c:pt idx="8093">
                  <c:v>52.38</c:v>
                </c:pt>
                <c:pt idx="8094">
                  <c:v>43.99</c:v>
                </c:pt>
                <c:pt idx="8095">
                  <c:v>51.68</c:v>
                </c:pt>
                <c:pt idx="8096">
                  <c:v>32.81</c:v>
                </c:pt>
                <c:pt idx="8097">
                  <c:v>23.08</c:v>
                </c:pt>
                <c:pt idx="8098">
                  <c:v>43.08</c:v>
                </c:pt>
                <c:pt idx="8099">
                  <c:v>17.68</c:v>
                </c:pt>
                <c:pt idx="8100">
                  <c:v>33.99</c:v>
                </c:pt>
                <c:pt idx="8101">
                  <c:v>25.55</c:v>
                </c:pt>
                <c:pt idx="8102">
                  <c:v>17.88</c:v>
                </c:pt>
                <c:pt idx="8103">
                  <c:v>30.939999999999987</c:v>
                </c:pt>
                <c:pt idx="8104">
                  <c:v>49.6</c:v>
                </c:pt>
                <c:pt idx="8105">
                  <c:v>52.730000000000011</c:v>
                </c:pt>
                <c:pt idx="8106">
                  <c:v>52.51</c:v>
                </c:pt>
                <c:pt idx="8107">
                  <c:v>50</c:v>
                </c:pt>
                <c:pt idx="8108">
                  <c:v>26.09</c:v>
                </c:pt>
                <c:pt idx="8109">
                  <c:v>53.98</c:v>
                </c:pt>
                <c:pt idx="8110">
                  <c:v>38.32</c:v>
                </c:pt>
                <c:pt idx="8111">
                  <c:v>37.92</c:v>
                </c:pt>
                <c:pt idx="8112">
                  <c:v>33.700000000000003</c:v>
                </c:pt>
                <c:pt idx="8113">
                  <c:v>15.35000000000001</c:v>
                </c:pt>
                <c:pt idx="8114">
                  <c:v>28.07</c:v>
                </c:pt>
                <c:pt idx="8115">
                  <c:v>62.96</c:v>
                </c:pt>
                <c:pt idx="8116">
                  <c:v>36.980000000000004</c:v>
                </c:pt>
                <c:pt idx="8117">
                  <c:v>25.479999999999986</c:v>
                </c:pt>
                <c:pt idx="8118">
                  <c:v>46.45</c:v>
                </c:pt>
                <c:pt idx="8119">
                  <c:v>21.09</c:v>
                </c:pt>
                <c:pt idx="8120">
                  <c:v>22.259999999999987</c:v>
                </c:pt>
                <c:pt idx="8121">
                  <c:v>33.28</c:v>
                </c:pt>
                <c:pt idx="8122">
                  <c:v>22.07</c:v>
                </c:pt>
                <c:pt idx="8123">
                  <c:v>23.79</c:v>
                </c:pt>
                <c:pt idx="8124">
                  <c:v>45.99</c:v>
                </c:pt>
                <c:pt idx="8125">
                  <c:v>42.81</c:v>
                </c:pt>
                <c:pt idx="8126">
                  <c:v>35.06</c:v>
                </c:pt>
                <c:pt idx="8127">
                  <c:v>32.39</c:v>
                </c:pt>
                <c:pt idx="8128">
                  <c:v>51.71</c:v>
                </c:pt>
                <c:pt idx="8129">
                  <c:v>32.49</c:v>
                </c:pt>
                <c:pt idx="8130">
                  <c:v>35.25</c:v>
                </c:pt>
                <c:pt idx="8131">
                  <c:v>37.520000000000003</c:v>
                </c:pt>
                <c:pt idx="8132">
                  <c:v>48</c:v>
                </c:pt>
                <c:pt idx="8133">
                  <c:v>56.14</c:v>
                </c:pt>
                <c:pt idx="8134">
                  <c:v>35.220000000000013</c:v>
                </c:pt>
                <c:pt idx="8135">
                  <c:v>45.660000000000011</c:v>
                </c:pt>
                <c:pt idx="8136">
                  <c:v>40.46</c:v>
                </c:pt>
                <c:pt idx="8137">
                  <c:v>17.91</c:v>
                </c:pt>
                <c:pt idx="8138">
                  <c:v>31.82</c:v>
                </c:pt>
                <c:pt idx="8139">
                  <c:v>41.94</c:v>
                </c:pt>
                <c:pt idx="8140">
                  <c:v>39.56</c:v>
                </c:pt>
                <c:pt idx="8141">
                  <c:v>30.06</c:v>
                </c:pt>
                <c:pt idx="8142">
                  <c:v>29.88</c:v>
                </c:pt>
                <c:pt idx="8143">
                  <c:v>20.04</c:v>
                </c:pt>
                <c:pt idx="8144">
                  <c:v>32.630000000000003</c:v>
                </c:pt>
                <c:pt idx="8145">
                  <c:v>36.630000000000003</c:v>
                </c:pt>
                <c:pt idx="8146">
                  <c:v>72.7</c:v>
                </c:pt>
                <c:pt idx="8147">
                  <c:v>44.92</c:v>
                </c:pt>
                <c:pt idx="8148">
                  <c:v>53.99</c:v>
                </c:pt>
                <c:pt idx="8149">
                  <c:v>49.98</c:v>
                </c:pt>
                <c:pt idx="8150">
                  <c:v>43.95</c:v>
                </c:pt>
                <c:pt idx="8151">
                  <c:v>48.96</c:v>
                </c:pt>
                <c:pt idx="8152">
                  <c:v>55.92</c:v>
                </c:pt>
                <c:pt idx="8153">
                  <c:v>34.96</c:v>
                </c:pt>
                <c:pt idx="8154">
                  <c:v>46</c:v>
                </c:pt>
                <c:pt idx="8155">
                  <c:v>51.96</c:v>
                </c:pt>
                <c:pt idx="8156">
                  <c:v>54.28</c:v>
                </c:pt>
                <c:pt idx="8157">
                  <c:v>24.63000000000002</c:v>
                </c:pt>
                <c:pt idx="8158">
                  <c:v>25.67</c:v>
                </c:pt>
                <c:pt idx="8159">
                  <c:v>38.99</c:v>
                </c:pt>
                <c:pt idx="8160">
                  <c:v>46.01</c:v>
                </c:pt>
                <c:pt idx="8161">
                  <c:v>52.34</c:v>
                </c:pt>
                <c:pt idx="8162">
                  <c:v>45.18</c:v>
                </c:pt>
                <c:pt idx="8163">
                  <c:v>46.35</c:v>
                </c:pt>
                <c:pt idx="8164">
                  <c:v>45.31</c:v>
                </c:pt>
                <c:pt idx="8165">
                  <c:v>47.94</c:v>
                </c:pt>
                <c:pt idx="8166">
                  <c:v>17.959999999999987</c:v>
                </c:pt>
                <c:pt idx="8167">
                  <c:v>28.56</c:v>
                </c:pt>
                <c:pt idx="8168">
                  <c:v>32.86</c:v>
                </c:pt>
                <c:pt idx="8169">
                  <c:v>15.32</c:v>
                </c:pt>
                <c:pt idx="8170">
                  <c:v>29.99</c:v>
                </c:pt>
                <c:pt idx="8171">
                  <c:v>43.8</c:v>
                </c:pt>
                <c:pt idx="8172">
                  <c:v>55.39</c:v>
                </c:pt>
                <c:pt idx="8173">
                  <c:v>54.97</c:v>
                </c:pt>
                <c:pt idx="8174">
                  <c:v>30.91</c:v>
                </c:pt>
                <c:pt idx="8175">
                  <c:v>38.380000000000003</c:v>
                </c:pt>
                <c:pt idx="8176">
                  <c:v>35.230000000000011</c:v>
                </c:pt>
                <c:pt idx="8177">
                  <c:v>40.4</c:v>
                </c:pt>
                <c:pt idx="8178">
                  <c:v>29.91</c:v>
                </c:pt>
                <c:pt idx="8179">
                  <c:v>46.47</c:v>
                </c:pt>
                <c:pt idx="8180">
                  <c:v>37.53</c:v>
                </c:pt>
                <c:pt idx="8181">
                  <c:v>23.01</c:v>
                </c:pt>
                <c:pt idx="8182">
                  <c:v>55.620000000000012</c:v>
                </c:pt>
                <c:pt idx="8183">
                  <c:v>51.690000000000012</c:v>
                </c:pt>
                <c:pt idx="8184">
                  <c:v>39.96</c:v>
                </c:pt>
                <c:pt idx="8185">
                  <c:v>37.47</c:v>
                </c:pt>
                <c:pt idx="8186">
                  <c:v>42.87</c:v>
                </c:pt>
                <c:pt idx="8187">
                  <c:v>31.07</c:v>
                </c:pt>
                <c:pt idx="8188">
                  <c:v>33.550000000000004</c:v>
                </c:pt>
                <c:pt idx="8189">
                  <c:v>39.97</c:v>
                </c:pt>
                <c:pt idx="8190">
                  <c:v>39.910000000000004</c:v>
                </c:pt>
                <c:pt idx="8191">
                  <c:v>35.06</c:v>
                </c:pt>
                <c:pt idx="8192">
                  <c:v>25.4</c:v>
                </c:pt>
                <c:pt idx="8193">
                  <c:v>29.97</c:v>
                </c:pt>
                <c:pt idx="8194">
                  <c:v>55.99</c:v>
                </c:pt>
                <c:pt idx="8195">
                  <c:v>45.38</c:v>
                </c:pt>
                <c:pt idx="8196">
                  <c:v>28.49</c:v>
                </c:pt>
                <c:pt idx="8197">
                  <c:v>31.39</c:v>
                </c:pt>
                <c:pt idx="8198">
                  <c:v>40.04</c:v>
                </c:pt>
                <c:pt idx="8199">
                  <c:v>40.720000000000013</c:v>
                </c:pt>
                <c:pt idx="8200">
                  <c:v>40</c:v>
                </c:pt>
                <c:pt idx="8201">
                  <c:v>34.020000000000003</c:v>
                </c:pt>
                <c:pt idx="8202">
                  <c:v>42.660000000000011</c:v>
                </c:pt>
                <c:pt idx="8203">
                  <c:v>31.64</c:v>
                </c:pt>
                <c:pt idx="8204">
                  <c:v>43.71</c:v>
                </c:pt>
                <c:pt idx="8205">
                  <c:v>41.92</c:v>
                </c:pt>
                <c:pt idx="8206">
                  <c:v>36.720000000000013</c:v>
                </c:pt>
                <c:pt idx="8207">
                  <c:v>51.92</c:v>
                </c:pt>
                <c:pt idx="8208">
                  <c:v>35.340000000000003</c:v>
                </c:pt>
                <c:pt idx="8209">
                  <c:v>34.43</c:v>
                </c:pt>
                <c:pt idx="8210">
                  <c:v>56.260000000000012</c:v>
                </c:pt>
                <c:pt idx="8211">
                  <c:v>51.71</c:v>
                </c:pt>
                <c:pt idx="8212">
                  <c:v>44.25</c:v>
                </c:pt>
                <c:pt idx="8213">
                  <c:v>49.89</c:v>
                </c:pt>
                <c:pt idx="8214">
                  <c:v>39.56</c:v>
                </c:pt>
                <c:pt idx="8215">
                  <c:v>34.97</c:v>
                </c:pt>
                <c:pt idx="8216">
                  <c:v>61.04</c:v>
                </c:pt>
                <c:pt idx="8217">
                  <c:v>41.230000000000011</c:v>
                </c:pt>
                <c:pt idx="8218">
                  <c:v>40.020000000000003</c:v>
                </c:pt>
                <c:pt idx="8219">
                  <c:v>30.08</c:v>
                </c:pt>
                <c:pt idx="8220">
                  <c:v>30.57</c:v>
                </c:pt>
                <c:pt idx="8221">
                  <c:v>35</c:v>
                </c:pt>
                <c:pt idx="8222">
                  <c:v>52.96</c:v>
                </c:pt>
                <c:pt idx="8223">
                  <c:v>43.91</c:v>
                </c:pt>
                <c:pt idx="8224">
                  <c:v>53.190000000000012</c:v>
                </c:pt>
                <c:pt idx="8225">
                  <c:v>42.94</c:v>
                </c:pt>
                <c:pt idx="8226">
                  <c:v>45</c:v>
                </c:pt>
                <c:pt idx="8227">
                  <c:v>35.04</c:v>
                </c:pt>
                <c:pt idx="8228">
                  <c:v>35.590000000000003</c:v>
                </c:pt>
                <c:pt idx="8229">
                  <c:v>29.04</c:v>
                </c:pt>
                <c:pt idx="8230">
                  <c:v>46.06</c:v>
                </c:pt>
                <c:pt idx="8231">
                  <c:v>52.620000000000012</c:v>
                </c:pt>
                <c:pt idx="8232">
                  <c:v>34.25</c:v>
                </c:pt>
                <c:pt idx="8233">
                  <c:v>31.93</c:v>
                </c:pt>
                <c:pt idx="8234">
                  <c:v>43.57</c:v>
                </c:pt>
                <c:pt idx="8235">
                  <c:v>24.02</c:v>
                </c:pt>
                <c:pt idx="8236">
                  <c:v>47.44</c:v>
                </c:pt>
                <c:pt idx="8237">
                  <c:v>11.85000000000001</c:v>
                </c:pt>
                <c:pt idx="8238">
                  <c:v>19.939999999999987</c:v>
                </c:pt>
                <c:pt idx="8239">
                  <c:v>40.020000000000003</c:v>
                </c:pt>
                <c:pt idx="8240">
                  <c:v>43.93</c:v>
                </c:pt>
                <c:pt idx="8241">
                  <c:v>24.610000000000021</c:v>
                </c:pt>
                <c:pt idx="8242">
                  <c:v>27.69</c:v>
                </c:pt>
                <c:pt idx="8243">
                  <c:v>30.99</c:v>
                </c:pt>
                <c:pt idx="8244">
                  <c:v>37.94</c:v>
                </c:pt>
                <c:pt idx="8245">
                  <c:v>58.13</c:v>
                </c:pt>
                <c:pt idx="8246">
                  <c:v>49.59</c:v>
                </c:pt>
                <c:pt idx="8247">
                  <c:v>23.22</c:v>
                </c:pt>
                <c:pt idx="8248">
                  <c:v>39.220000000000013</c:v>
                </c:pt>
                <c:pt idx="8249">
                  <c:v>33.1</c:v>
                </c:pt>
                <c:pt idx="8250">
                  <c:v>29.64</c:v>
                </c:pt>
                <c:pt idx="8251">
                  <c:v>56.05</c:v>
                </c:pt>
                <c:pt idx="8252">
                  <c:v>25.110000000000021</c:v>
                </c:pt>
                <c:pt idx="8253">
                  <c:v>29.63000000000002</c:v>
                </c:pt>
                <c:pt idx="8254">
                  <c:v>38.050000000000004</c:v>
                </c:pt>
                <c:pt idx="8255">
                  <c:v>65.22</c:v>
                </c:pt>
                <c:pt idx="8256">
                  <c:v>49.1</c:v>
                </c:pt>
                <c:pt idx="8257">
                  <c:v>34.15</c:v>
                </c:pt>
                <c:pt idx="8258">
                  <c:v>46.55</c:v>
                </c:pt>
                <c:pt idx="8259">
                  <c:v>49.38</c:v>
                </c:pt>
                <c:pt idx="8260">
                  <c:v>53.56</c:v>
                </c:pt>
                <c:pt idx="8261">
                  <c:v>42.08</c:v>
                </c:pt>
                <c:pt idx="8262">
                  <c:v>23.08</c:v>
                </c:pt>
                <c:pt idx="8263">
                  <c:v>20.58</c:v>
                </c:pt>
                <c:pt idx="8264">
                  <c:v>47.620000000000012</c:v>
                </c:pt>
                <c:pt idx="8265">
                  <c:v>40.07</c:v>
                </c:pt>
                <c:pt idx="8266">
                  <c:v>54.6</c:v>
                </c:pt>
                <c:pt idx="8267">
                  <c:v>15.04</c:v>
                </c:pt>
                <c:pt idx="8268">
                  <c:v>48.49</c:v>
                </c:pt>
                <c:pt idx="8269">
                  <c:v>60.01</c:v>
                </c:pt>
                <c:pt idx="8270">
                  <c:v>32.01</c:v>
                </c:pt>
                <c:pt idx="8271">
                  <c:v>37.42</c:v>
                </c:pt>
                <c:pt idx="8272">
                  <c:v>25.110000000000021</c:v>
                </c:pt>
                <c:pt idx="8273">
                  <c:v>29.08</c:v>
                </c:pt>
                <c:pt idx="8274">
                  <c:v>34</c:v>
                </c:pt>
                <c:pt idx="8275">
                  <c:v>29.2</c:v>
                </c:pt>
                <c:pt idx="8276">
                  <c:v>32.130000000000003</c:v>
                </c:pt>
                <c:pt idx="8277">
                  <c:v>41.92</c:v>
                </c:pt>
                <c:pt idx="8278">
                  <c:v>41.93</c:v>
                </c:pt>
                <c:pt idx="8279">
                  <c:v>32.18</c:v>
                </c:pt>
                <c:pt idx="8280">
                  <c:v>31.08</c:v>
                </c:pt>
                <c:pt idx="8281">
                  <c:v>29.51</c:v>
                </c:pt>
                <c:pt idx="8282">
                  <c:v>44.04</c:v>
                </c:pt>
                <c:pt idx="8283">
                  <c:v>55.48</c:v>
                </c:pt>
                <c:pt idx="8284">
                  <c:v>29.1</c:v>
                </c:pt>
                <c:pt idx="8285">
                  <c:v>72</c:v>
                </c:pt>
                <c:pt idx="8286">
                  <c:v>28.64</c:v>
                </c:pt>
                <c:pt idx="8287">
                  <c:v>33.92</c:v>
                </c:pt>
                <c:pt idx="8288">
                  <c:v>42.05</c:v>
                </c:pt>
                <c:pt idx="8289">
                  <c:v>25.31000000000002</c:v>
                </c:pt>
                <c:pt idx="8290">
                  <c:v>45.17</c:v>
                </c:pt>
                <c:pt idx="8291">
                  <c:v>41.47</c:v>
                </c:pt>
                <c:pt idx="8292">
                  <c:v>40.520000000000003</c:v>
                </c:pt>
                <c:pt idx="8293">
                  <c:v>52.160000000000011</c:v>
                </c:pt>
                <c:pt idx="8294">
                  <c:v>29.919999999999987</c:v>
                </c:pt>
                <c:pt idx="8295">
                  <c:v>66.319999999999993</c:v>
                </c:pt>
                <c:pt idx="8296">
                  <c:v>47.74</c:v>
                </c:pt>
                <c:pt idx="8297">
                  <c:v>14.82</c:v>
                </c:pt>
                <c:pt idx="8298">
                  <c:v>11.52</c:v>
                </c:pt>
                <c:pt idx="8299">
                  <c:v>30.330000000000005</c:v>
                </c:pt>
                <c:pt idx="8300">
                  <c:v>61</c:v>
                </c:pt>
                <c:pt idx="8301">
                  <c:v>48.84</c:v>
                </c:pt>
                <c:pt idx="8302">
                  <c:v>58.94</c:v>
                </c:pt>
                <c:pt idx="8303">
                  <c:v>22.89</c:v>
                </c:pt>
                <c:pt idx="8304">
                  <c:v>38</c:v>
                </c:pt>
                <c:pt idx="8305">
                  <c:v>36.410000000000004</c:v>
                </c:pt>
                <c:pt idx="8306">
                  <c:v>46.8</c:v>
                </c:pt>
                <c:pt idx="8307">
                  <c:v>47.8</c:v>
                </c:pt>
                <c:pt idx="8308">
                  <c:v>31.95</c:v>
                </c:pt>
                <c:pt idx="8309">
                  <c:v>12.76</c:v>
                </c:pt>
                <c:pt idx="8310">
                  <c:v>28.66</c:v>
                </c:pt>
                <c:pt idx="8311">
                  <c:v>36.200000000000003</c:v>
                </c:pt>
                <c:pt idx="8312">
                  <c:v>30.97</c:v>
                </c:pt>
                <c:pt idx="8313">
                  <c:v>27.36</c:v>
                </c:pt>
                <c:pt idx="8314">
                  <c:v>31.67</c:v>
                </c:pt>
                <c:pt idx="8315">
                  <c:v>17.55</c:v>
                </c:pt>
                <c:pt idx="8316">
                  <c:v>10.1</c:v>
                </c:pt>
                <c:pt idx="8317">
                  <c:v>46.96</c:v>
                </c:pt>
                <c:pt idx="8318">
                  <c:v>33.120000000000012</c:v>
                </c:pt>
                <c:pt idx="8319">
                  <c:v>45.36</c:v>
                </c:pt>
                <c:pt idx="8320">
                  <c:v>32.03</c:v>
                </c:pt>
                <c:pt idx="8321">
                  <c:v>23.84</c:v>
                </c:pt>
                <c:pt idx="8322">
                  <c:v>35.85</c:v>
                </c:pt>
                <c:pt idx="8323">
                  <c:v>29.459999999999987</c:v>
                </c:pt>
                <c:pt idx="8324">
                  <c:v>36.720000000000013</c:v>
                </c:pt>
                <c:pt idx="8325">
                  <c:v>31.72</c:v>
                </c:pt>
                <c:pt idx="8326">
                  <c:v>33.61</c:v>
                </c:pt>
                <c:pt idx="8327">
                  <c:v>47.11</c:v>
                </c:pt>
                <c:pt idx="8328">
                  <c:v>24.830000000000005</c:v>
                </c:pt>
                <c:pt idx="8329">
                  <c:v>45.97</c:v>
                </c:pt>
                <c:pt idx="8330">
                  <c:v>45.97</c:v>
                </c:pt>
                <c:pt idx="8331">
                  <c:v>36.97</c:v>
                </c:pt>
                <c:pt idx="8332">
                  <c:v>46.3</c:v>
                </c:pt>
                <c:pt idx="8333">
                  <c:v>44.51</c:v>
                </c:pt>
                <c:pt idx="8334">
                  <c:v>42.96</c:v>
                </c:pt>
                <c:pt idx="8335">
                  <c:v>35.07</c:v>
                </c:pt>
                <c:pt idx="8336">
                  <c:v>50.85</c:v>
                </c:pt>
                <c:pt idx="8337">
                  <c:v>30.68</c:v>
                </c:pt>
                <c:pt idx="8338">
                  <c:v>42.96</c:v>
                </c:pt>
                <c:pt idx="8339">
                  <c:v>39.75</c:v>
                </c:pt>
                <c:pt idx="8340">
                  <c:v>32.090000000000003</c:v>
                </c:pt>
                <c:pt idx="8341">
                  <c:v>30.71</c:v>
                </c:pt>
                <c:pt idx="8342">
                  <c:v>44.09</c:v>
                </c:pt>
                <c:pt idx="8343">
                  <c:v>46.620000000000012</c:v>
                </c:pt>
                <c:pt idx="8344">
                  <c:v>42.07</c:v>
                </c:pt>
                <c:pt idx="8345">
                  <c:v>47.44</c:v>
                </c:pt>
                <c:pt idx="8346">
                  <c:v>14.93</c:v>
                </c:pt>
                <c:pt idx="8347">
                  <c:v>38.93</c:v>
                </c:pt>
                <c:pt idx="8348">
                  <c:v>28.06</c:v>
                </c:pt>
                <c:pt idx="8349">
                  <c:v>38.89</c:v>
                </c:pt>
                <c:pt idx="8350">
                  <c:v>34.050000000000004</c:v>
                </c:pt>
                <c:pt idx="8351">
                  <c:v>26.02</c:v>
                </c:pt>
                <c:pt idx="8352">
                  <c:v>29.97</c:v>
                </c:pt>
                <c:pt idx="8353">
                  <c:v>34.32</c:v>
                </c:pt>
                <c:pt idx="8354">
                  <c:v>26.12</c:v>
                </c:pt>
                <c:pt idx="8355">
                  <c:v>41.260000000000012</c:v>
                </c:pt>
                <c:pt idx="8356">
                  <c:v>34.980000000000004</c:v>
                </c:pt>
                <c:pt idx="8357">
                  <c:v>57.690000000000012</c:v>
                </c:pt>
                <c:pt idx="8358">
                  <c:v>35.15</c:v>
                </c:pt>
                <c:pt idx="8359">
                  <c:v>28.91</c:v>
                </c:pt>
                <c:pt idx="8360">
                  <c:v>27.979999999999986</c:v>
                </c:pt>
                <c:pt idx="8361">
                  <c:v>32.68</c:v>
                </c:pt>
                <c:pt idx="8362">
                  <c:v>27.8</c:v>
                </c:pt>
                <c:pt idx="8363">
                  <c:v>30.47</c:v>
                </c:pt>
                <c:pt idx="8364">
                  <c:v>25.81000000000002</c:v>
                </c:pt>
                <c:pt idx="8365">
                  <c:v>43.11</c:v>
                </c:pt>
                <c:pt idx="8366">
                  <c:v>32.36</c:v>
                </c:pt>
                <c:pt idx="8367">
                  <c:v>81.36999999999999</c:v>
                </c:pt>
                <c:pt idx="8368">
                  <c:v>32.590000000000003</c:v>
                </c:pt>
                <c:pt idx="8369">
                  <c:v>32.340000000000003</c:v>
                </c:pt>
                <c:pt idx="8370">
                  <c:v>55.17</c:v>
                </c:pt>
                <c:pt idx="8371">
                  <c:v>23.72</c:v>
                </c:pt>
                <c:pt idx="8372">
                  <c:v>33.56</c:v>
                </c:pt>
                <c:pt idx="8373">
                  <c:v>41.55</c:v>
                </c:pt>
                <c:pt idx="8374">
                  <c:v>30.07</c:v>
                </c:pt>
                <c:pt idx="8375">
                  <c:v>28.91</c:v>
                </c:pt>
                <c:pt idx="8376">
                  <c:v>29.610000000000021</c:v>
                </c:pt>
                <c:pt idx="8377">
                  <c:v>31.04</c:v>
                </c:pt>
                <c:pt idx="8378">
                  <c:v>31.97</c:v>
                </c:pt>
                <c:pt idx="8379">
                  <c:v>33.230000000000011</c:v>
                </c:pt>
                <c:pt idx="8380">
                  <c:v>57.96</c:v>
                </c:pt>
                <c:pt idx="8381">
                  <c:v>28.22</c:v>
                </c:pt>
                <c:pt idx="8382">
                  <c:v>46.58</c:v>
                </c:pt>
                <c:pt idx="8383">
                  <c:v>43.21</c:v>
                </c:pt>
                <c:pt idx="8384">
                  <c:v>57.68</c:v>
                </c:pt>
                <c:pt idx="8385">
                  <c:v>54</c:v>
                </c:pt>
                <c:pt idx="8386">
                  <c:v>45.660000000000011</c:v>
                </c:pt>
                <c:pt idx="8387">
                  <c:v>53.45</c:v>
                </c:pt>
                <c:pt idx="8388">
                  <c:v>69.679999999999978</c:v>
                </c:pt>
                <c:pt idx="8389">
                  <c:v>33.790000000000013</c:v>
                </c:pt>
                <c:pt idx="8390">
                  <c:v>30.63000000000002</c:v>
                </c:pt>
                <c:pt idx="8391">
                  <c:v>32.020000000000003</c:v>
                </c:pt>
                <c:pt idx="8392">
                  <c:v>39.950000000000003</c:v>
                </c:pt>
                <c:pt idx="8393">
                  <c:v>60.14</c:v>
                </c:pt>
                <c:pt idx="8394">
                  <c:v>55.09</c:v>
                </c:pt>
                <c:pt idx="8395">
                  <c:v>42.17</c:v>
                </c:pt>
                <c:pt idx="8396">
                  <c:v>35.01</c:v>
                </c:pt>
                <c:pt idx="8397">
                  <c:v>56.88</c:v>
                </c:pt>
                <c:pt idx="8398">
                  <c:v>29.8</c:v>
                </c:pt>
                <c:pt idx="8399">
                  <c:v>30.25</c:v>
                </c:pt>
                <c:pt idx="8400">
                  <c:v>52.93</c:v>
                </c:pt>
                <c:pt idx="8401">
                  <c:v>39.18</c:v>
                </c:pt>
                <c:pt idx="8402">
                  <c:v>43.09</c:v>
                </c:pt>
                <c:pt idx="8403">
                  <c:v>42.01</c:v>
                </c:pt>
                <c:pt idx="8404">
                  <c:v>30.03</c:v>
                </c:pt>
                <c:pt idx="8405">
                  <c:v>30.259999999999987</c:v>
                </c:pt>
                <c:pt idx="8406">
                  <c:v>33.270000000000003</c:v>
                </c:pt>
                <c:pt idx="8407">
                  <c:v>48.13</c:v>
                </c:pt>
                <c:pt idx="8408">
                  <c:v>35.6</c:v>
                </c:pt>
                <c:pt idx="8409">
                  <c:v>54.38</c:v>
                </c:pt>
                <c:pt idx="8410">
                  <c:v>31.06</c:v>
                </c:pt>
                <c:pt idx="8411">
                  <c:v>52.92</c:v>
                </c:pt>
                <c:pt idx="8412">
                  <c:v>44.45</c:v>
                </c:pt>
                <c:pt idx="8413">
                  <c:v>16.010000000000005</c:v>
                </c:pt>
                <c:pt idx="8414">
                  <c:v>29.99</c:v>
                </c:pt>
                <c:pt idx="8415">
                  <c:v>32.03</c:v>
                </c:pt>
                <c:pt idx="8416">
                  <c:v>48.190000000000012</c:v>
                </c:pt>
                <c:pt idx="8417">
                  <c:v>47.77</c:v>
                </c:pt>
                <c:pt idx="8418">
                  <c:v>40.290000000000013</c:v>
                </c:pt>
                <c:pt idx="8419">
                  <c:v>12.71</c:v>
                </c:pt>
                <c:pt idx="8420">
                  <c:v>35.83</c:v>
                </c:pt>
                <c:pt idx="8421">
                  <c:v>42.55</c:v>
                </c:pt>
                <c:pt idx="8422">
                  <c:v>34.96</c:v>
                </c:pt>
                <c:pt idx="8423">
                  <c:v>29.919999999999987</c:v>
                </c:pt>
                <c:pt idx="8424">
                  <c:v>31.82</c:v>
                </c:pt>
                <c:pt idx="8425">
                  <c:v>43.93</c:v>
                </c:pt>
                <c:pt idx="8426">
                  <c:v>37.620000000000012</c:v>
                </c:pt>
                <c:pt idx="8427">
                  <c:v>31.02</c:v>
                </c:pt>
                <c:pt idx="8428">
                  <c:v>30.69</c:v>
                </c:pt>
                <c:pt idx="8429">
                  <c:v>25.58</c:v>
                </c:pt>
                <c:pt idx="8430">
                  <c:v>31.2</c:v>
                </c:pt>
                <c:pt idx="8431">
                  <c:v>23.479999999999986</c:v>
                </c:pt>
                <c:pt idx="8432">
                  <c:v>47.43</c:v>
                </c:pt>
                <c:pt idx="8433">
                  <c:v>64.910000000000025</c:v>
                </c:pt>
                <c:pt idx="8434">
                  <c:v>24.330000000000005</c:v>
                </c:pt>
                <c:pt idx="8435">
                  <c:v>15.96</c:v>
                </c:pt>
                <c:pt idx="8436">
                  <c:v>26.939999999999987</c:v>
                </c:pt>
                <c:pt idx="8437">
                  <c:v>29.64</c:v>
                </c:pt>
                <c:pt idx="8438">
                  <c:v>41.81</c:v>
                </c:pt>
                <c:pt idx="8439">
                  <c:v>45.98</c:v>
                </c:pt>
                <c:pt idx="8440">
                  <c:v>34.06</c:v>
                </c:pt>
                <c:pt idx="8441">
                  <c:v>32.020000000000003</c:v>
                </c:pt>
                <c:pt idx="8442">
                  <c:v>34.200000000000003</c:v>
                </c:pt>
                <c:pt idx="8443">
                  <c:v>43.91</c:v>
                </c:pt>
                <c:pt idx="8444">
                  <c:v>56.97</c:v>
                </c:pt>
                <c:pt idx="8445">
                  <c:v>42.43</c:v>
                </c:pt>
                <c:pt idx="8446">
                  <c:v>25.919999999999987</c:v>
                </c:pt>
                <c:pt idx="8447">
                  <c:v>31.95</c:v>
                </c:pt>
                <c:pt idx="8448">
                  <c:v>58.24</c:v>
                </c:pt>
                <c:pt idx="8449">
                  <c:v>30.29</c:v>
                </c:pt>
                <c:pt idx="8450">
                  <c:v>24.75</c:v>
                </c:pt>
                <c:pt idx="8451">
                  <c:v>39.980000000000004</c:v>
                </c:pt>
                <c:pt idx="8452">
                  <c:v>56.91</c:v>
                </c:pt>
                <c:pt idx="8453">
                  <c:v>48.01</c:v>
                </c:pt>
                <c:pt idx="8454">
                  <c:v>12.78</c:v>
                </c:pt>
                <c:pt idx="8455">
                  <c:v>13.89</c:v>
                </c:pt>
                <c:pt idx="8456">
                  <c:v>40.98</c:v>
                </c:pt>
                <c:pt idx="8457">
                  <c:v>35.700000000000003</c:v>
                </c:pt>
                <c:pt idx="8458">
                  <c:v>25.7</c:v>
                </c:pt>
                <c:pt idx="8459">
                  <c:v>98.05</c:v>
                </c:pt>
                <c:pt idx="8460">
                  <c:v>32.18</c:v>
                </c:pt>
                <c:pt idx="8461">
                  <c:v>20.12</c:v>
                </c:pt>
                <c:pt idx="8462">
                  <c:v>14.16</c:v>
                </c:pt>
                <c:pt idx="8463">
                  <c:v>31.08</c:v>
                </c:pt>
                <c:pt idx="8464">
                  <c:v>31.53</c:v>
                </c:pt>
                <c:pt idx="8465">
                  <c:v>14.97</c:v>
                </c:pt>
                <c:pt idx="8466">
                  <c:v>42.91</c:v>
                </c:pt>
                <c:pt idx="8467">
                  <c:v>49.38</c:v>
                </c:pt>
                <c:pt idx="8468">
                  <c:v>32.18</c:v>
                </c:pt>
                <c:pt idx="8469">
                  <c:v>37.950000000000003</c:v>
                </c:pt>
                <c:pt idx="8470">
                  <c:v>34.81</c:v>
                </c:pt>
                <c:pt idx="8471">
                  <c:v>39.220000000000013</c:v>
                </c:pt>
                <c:pt idx="8472">
                  <c:v>25.330000000000005</c:v>
                </c:pt>
                <c:pt idx="8473">
                  <c:v>47.21</c:v>
                </c:pt>
                <c:pt idx="8474">
                  <c:v>24.5</c:v>
                </c:pt>
                <c:pt idx="8475">
                  <c:v>14.78</c:v>
                </c:pt>
                <c:pt idx="8476">
                  <c:v>49.94</c:v>
                </c:pt>
                <c:pt idx="8477">
                  <c:v>31.77</c:v>
                </c:pt>
                <c:pt idx="8478">
                  <c:v>45.67</c:v>
                </c:pt>
                <c:pt idx="8479">
                  <c:v>27.259999999999987</c:v>
                </c:pt>
                <c:pt idx="8480">
                  <c:v>55.75</c:v>
                </c:pt>
                <c:pt idx="8481">
                  <c:v>32.07</c:v>
                </c:pt>
                <c:pt idx="8482">
                  <c:v>47.95</c:v>
                </c:pt>
                <c:pt idx="8483">
                  <c:v>45.98</c:v>
                </c:pt>
                <c:pt idx="8484">
                  <c:v>42</c:v>
                </c:pt>
                <c:pt idx="8485">
                  <c:v>23.71</c:v>
                </c:pt>
                <c:pt idx="8486">
                  <c:v>29.36</c:v>
                </c:pt>
                <c:pt idx="8487">
                  <c:v>36.130000000000003</c:v>
                </c:pt>
                <c:pt idx="8488">
                  <c:v>28.56</c:v>
                </c:pt>
                <c:pt idx="8489">
                  <c:v>42.45</c:v>
                </c:pt>
                <c:pt idx="8490">
                  <c:v>53.39</c:v>
                </c:pt>
                <c:pt idx="8491">
                  <c:v>61.67</c:v>
                </c:pt>
                <c:pt idx="8492">
                  <c:v>36.93</c:v>
                </c:pt>
                <c:pt idx="8493">
                  <c:v>41.03</c:v>
                </c:pt>
                <c:pt idx="8494">
                  <c:v>70.599999999999994</c:v>
                </c:pt>
                <c:pt idx="8495">
                  <c:v>31</c:v>
                </c:pt>
                <c:pt idx="8496">
                  <c:v>64.739999999999995</c:v>
                </c:pt>
                <c:pt idx="8497">
                  <c:v>54.25</c:v>
                </c:pt>
                <c:pt idx="8498">
                  <c:v>31.23</c:v>
                </c:pt>
                <c:pt idx="8499">
                  <c:v>65.56</c:v>
                </c:pt>
                <c:pt idx="8500">
                  <c:v>53.88</c:v>
                </c:pt>
                <c:pt idx="8501">
                  <c:v>39.4</c:v>
                </c:pt>
                <c:pt idx="8502">
                  <c:v>11.5</c:v>
                </c:pt>
                <c:pt idx="8503">
                  <c:v>46.08</c:v>
                </c:pt>
                <c:pt idx="8504">
                  <c:v>58.48</c:v>
                </c:pt>
                <c:pt idx="8505">
                  <c:v>58.88</c:v>
                </c:pt>
                <c:pt idx="8506">
                  <c:v>69.47</c:v>
                </c:pt>
                <c:pt idx="8507">
                  <c:v>27.18</c:v>
                </c:pt>
                <c:pt idx="8508">
                  <c:v>55.99</c:v>
                </c:pt>
                <c:pt idx="8509">
                  <c:v>54.64</c:v>
                </c:pt>
                <c:pt idx="8510">
                  <c:v>26.05</c:v>
                </c:pt>
                <c:pt idx="8511">
                  <c:v>60.17</c:v>
                </c:pt>
                <c:pt idx="8512">
                  <c:v>60</c:v>
                </c:pt>
                <c:pt idx="8513">
                  <c:v>63.36</c:v>
                </c:pt>
                <c:pt idx="8514">
                  <c:v>35.090000000000003</c:v>
                </c:pt>
                <c:pt idx="8515">
                  <c:v>48.28</c:v>
                </c:pt>
                <c:pt idx="8516">
                  <c:v>55.99</c:v>
                </c:pt>
                <c:pt idx="8517">
                  <c:v>30.759999999999987</c:v>
                </c:pt>
                <c:pt idx="8518">
                  <c:v>59.91</c:v>
                </c:pt>
                <c:pt idx="8519">
                  <c:v>52.06</c:v>
                </c:pt>
                <c:pt idx="8520">
                  <c:v>40</c:v>
                </c:pt>
                <c:pt idx="8521">
                  <c:v>41.85</c:v>
                </c:pt>
                <c:pt idx="8522">
                  <c:v>9.2000000000000011</c:v>
                </c:pt>
                <c:pt idx="8523">
                  <c:v>42</c:v>
                </c:pt>
                <c:pt idx="8524">
                  <c:v>25.01</c:v>
                </c:pt>
                <c:pt idx="8525">
                  <c:v>62.01</c:v>
                </c:pt>
                <c:pt idx="8526">
                  <c:v>28.09</c:v>
                </c:pt>
                <c:pt idx="8527">
                  <c:v>58.64</c:v>
                </c:pt>
                <c:pt idx="8528">
                  <c:v>56.190000000000012</c:v>
                </c:pt>
                <c:pt idx="8529">
                  <c:v>37.54</c:v>
                </c:pt>
                <c:pt idx="8530">
                  <c:v>45.96</c:v>
                </c:pt>
                <c:pt idx="8531">
                  <c:v>36.93</c:v>
                </c:pt>
                <c:pt idx="8532">
                  <c:v>55.51</c:v>
                </c:pt>
                <c:pt idx="8533">
                  <c:v>37.75</c:v>
                </c:pt>
                <c:pt idx="8534">
                  <c:v>40.700000000000003</c:v>
                </c:pt>
                <c:pt idx="8535">
                  <c:v>60.81</c:v>
                </c:pt>
                <c:pt idx="8536">
                  <c:v>37.17</c:v>
                </c:pt>
                <c:pt idx="8537">
                  <c:v>47</c:v>
                </c:pt>
                <c:pt idx="8538">
                  <c:v>30.259999999999987</c:v>
                </c:pt>
                <c:pt idx="8539">
                  <c:v>9.66</c:v>
                </c:pt>
                <c:pt idx="8540">
                  <c:v>33.840000000000003</c:v>
                </c:pt>
                <c:pt idx="8541">
                  <c:v>27.2</c:v>
                </c:pt>
                <c:pt idx="8542">
                  <c:v>30.14</c:v>
                </c:pt>
                <c:pt idx="8543">
                  <c:v>47.43</c:v>
                </c:pt>
                <c:pt idx="8544">
                  <c:v>33.54</c:v>
                </c:pt>
                <c:pt idx="8545">
                  <c:v>39.730000000000011</c:v>
                </c:pt>
                <c:pt idx="8546">
                  <c:v>44.32</c:v>
                </c:pt>
                <c:pt idx="8547">
                  <c:v>31.97</c:v>
                </c:pt>
                <c:pt idx="8548">
                  <c:v>14.22</c:v>
                </c:pt>
                <c:pt idx="8549">
                  <c:v>37.910000000000004</c:v>
                </c:pt>
                <c:pt idx="8550">
                  <c:v>39.47</c:v>
                </c:pt>
                <c:pt idx="8551">
                  <c:v>42.02</c:v>
                </c:pt>
                <c:pt idx="8552">
                  <c:v>57.58</c:v>
                </c:pt>
                <c:pt idx="8553">
                  <c:v>52.5</c:v>
                </c:pt>
                <c:pt idx="8554">
                  <c:v>32.35</c:v>
                </c:pt>
                <c:pt idx="8555">
                  <c:v>60.01</c:v>
                </c:pt>
                <c:pt idx="8556">
                  <c:v>37.910000000000004</c:v>
                </c:pt>
                <c:pt idx="8557">
                  <c:v>45.07</c:v>
                </c:pt>
                <c:pt idx="8558">
                  <c:v>47.160000000000011</c:v>
                </c:pt>
                <c:pt idx="8559">
                  <c:v>24.01</c:v>
                </c:pt>
                <c:pt idx="8560">
                  <c:v>39.480000000000004</c:v>
                </c:pt>
                <c:pt idx="8561">
                  <c:v>15.76</c:v>
                </c:pt>
                <c:pt idx="8562">
                  <c:v>45.05</c:v>
                </c:pt>
                <c:pt idx="8563">
                  <c:v>40.42</c:v>
                </c:pt>
                <c:pt idx="8564">
                  <c:v>55.8</c:v>
                </c:pt>
                <c:pt idx="8565">
                  <c:v>37.28</c:v>
                </c:pt>
                <c:pt idx="8566">
                  <c:v>59.9</c:v>
                </c:pt>
                <c:pt idx="8567">
                  <c:v>49.95</c:v>
                </c:pt>
                <c:pt idx="8568">
                  <c:v>27.939999999999987</c:v>
                </c:pt>
                <c:pt idx="8569">
                  <c:v>45.45</c:v>
                </c:pt>
                <c:pt idx="8570">
                  <c:v>54.32</c:v>
                </c:pt>
                <c:pt idx="8571">
                  <c:v>42.730000000000011</c:v>
                </c:pt>
                <c:pt idx="8572">
                  <c:v>39.99</c:v>
                </c:pt>
                <c:pt idx="8573">
                  <c:v>58.97</c:v>
                </c:pt>
                <c:pt idx="8574">
                  <c:v>57.85</c:v>
                </c:pt>
                <c:pt idx="8575">
                  <c:v>16.02</c:v>
                </c:pt>
                <c:pt idx="8576">
                  <c:v>10.030000000000001</c:v>
                </c:pt>
                <c:pt idx="8577">
                  <c:v>25.86</c:v>
                </c:pt>
                <c:pt idx="8578">
                  <c:v>29.439999999999987</c:v>
                </c:pt>
                <c:pt idx="8579">
                  <c:v>22.36</c:v>
                </c:pt>
                <c:pt idx="8580">
                  <c:v>58.8</c:v>
                </c:pt>
                <c:pt idx="8581">
                  <c:v>52.44</c:v>
                </c:pt>
                <c:pt idx="8582">
                  <c:v>43.4</c:v>
                </c:pt>
                <c:pt idx="8583">
                  <c:v>44.97</c:v>
                </c:pt>
                <c:pt idx="8584">
                  <c:v>55.63</c:v>
                </c:pt>
                <c:pt idx="8585">
                  <c:v>26.08</c:v>
                </c:pt>
                <c:pt idx="8586">
                  <c:v>36.200000000000003</c:v>
                </c:pt>
                <c:pt idx="8587">
                  <c:v>31.88</c:v>
                </c:pt>
                <c:pt idx="8588">
                  <c:v>47.24</c:v>
                </c:pt>
                <c:pt idx="8589">
                  <c:v>18.100000000000001</c:v>
                </c:pt>
                <c:pt idx="8590">
                  <c:v>60.260000000000012</c:v>
                </c:pt>
                <c:pt idx="8591">
                  <c:v>30.23</c:v>
                </c:pt>
                <c:pt idx="8592">
                  <c:v>46.52</c:v>
                </c:pt>
                <c:pt idx="8593">
                  <c:v>45.42</c:v>
                </c:pt>
                <c:pt idx="8594">
                  <c:v>47.95</c:v>
                </c:pt>
                <c:pt idx="8595">
                  <c:v>25.73</c:v>
                </c:pt>
                <c:pt idx="8596">
                  <c:v>60</c:v>
                </c:pt>
                <c:pt idx="8597">
                  <c:v>46.9</c:v>
                </c:pt>
                <c:pt idx="8598">
                  <c:v>44.03</c:v>
                </c:pt>
                <c:pt idx="8599">
                  <c:v>33.120000000000012</c:v>
                </c:pt>
                <c:pt idx="8600">
                  <c:v>39.32</c:v>
                </c:pt>
                <c:pt idx="8601">
                  <c:v>43.96</c:v>
                </c:pt>
                <c:pt idx="8602">
                  <c:v>32.32</c:v>
                </c:pt>
                <c:pt idx="8603">
                  <c:v>34.630000000000003</c:v>
                </c:pt>
                <c:pt idx="8604">
                  <c:v>47.720000000000013</c:v>
                </c:pt>
                <c:pt idx="8605">
                  <c:v>31.91</c:v>
                </c:pt>
                <c:pt idx="8606">
                  <c:v>29.3</c:v>
                </c:pt>
                <c:pt idx="8607">
                  <c:v>54.220000000000013</c:v>
                </c:pt>
                <c:pt idx="8608">
                  <c:v>57.84</c:v>
                </c:pt>
                <c:pt idx="8609">
                  <c:v>29.47</c:v>
                </c:pt>
                <c:pt idx="8610">
                  <c:v>39.32</c:v>
                </c:pt>
                <c:pt idx="8611">
                  <c:v>12.06</c:v>
                </c:pt>
                <c:pt idx="8612">
                  <c:v>52.94</c:v>
                </c:pt>
                <c:pt idx="8613">
                  <c:v>41.99</c:v>
                </c:pt>
                <c:pt idx="8614">
                  <c:v>36.25</c:v>
                </c:pt>
                <c:pt idx="8615">
                  <c:v>42.99</c:v>
                </c:pt>
                <c:pt idx="8616">
                  <c:v>57.190000000000012</c:v>
                </c:pt>
                <c:pt idx="8617">
                  <c:v>53.91</c:v>
                </c:pt>
                <c:pt idx="8618">
                  <c:v>40.75</c:v>
                </c:pt>
                <c:pt idx="8619">
                  <c:v>48.8</c:v>
                </c:pt>
                <c:pt idx="8620">
                  <c:v>28.23</c:v>
                </c:pt>
                <c:pt idx="8621">
                  <c:v>44.57</c:v>
                </c:pt>
                <c:pt idx="8622">
                  <c:v>59.59</c:v>
                </c:pt>
                <c:pt idx="8623">
                  <c:v>32.020000000000003</c:v>
                </c:pt>
                <c:pt idx="8624">
                  <c:v>19.420000000000002</c:v>
                </c:pt>
                <c:pt idx="8625">
                  <c:v>32.910000000000004</c:v>
                </c:pt>
                <c:pt idx="8626">
                  <c:v>14.94</c:v>
                </c:pt>
                <c:pt idx="8627">
                  <c:v>32.230000000000011</c:v>
                </c:pt>
                <c:pt idx="8628">
                  <c:v>32.220000000000013</c:v>
                </c:pt>
                <c:pt idx="8629">
                  <c:v>33.910000000000004</c:v>
                </c:pt>
                <c:pt idx="8630">
                  <c:v>43.5</c:v>
                </c:pt>
                <c:pt idx="8631">
                  <c:v>50.86</c:v>
                </c:pt>
                <c:pt idx="8632">
                  <c:v>37.480000000000004</c:v>
                </c:pt>
                <c:pt idx="8633">
                  <c:v>67.19</c:v>
                </c:pt>
                <c:pt idx="8634">
                  <c:v>41.620000000000012</c:v>
                </c:pt>
                <c:pt idx="8635">
                  <c:v>15.05</c:v>
                </c:pt>
                <c:pt idx="8636">
                  <c:v>27.45</c:v>
                </c:pt>
                <c:pt idx="8637">
                  <c:v>20.010000000000005</c:v>
                </c:pt>
                <c:pt idx="8638">
                  <c:v>30.7</c:v>
                </c:pt>
                <c:pt idx="8639">
                  <c:v>42.6</c:v>
                </c:pt>
                <c:pt idx="8640">
                  <c:v>27.22</c:v>
                </c:pt>
                <c:pt idx="8641">
                  <c:v>25.75</c:v>
                </c:pt>
                <c:pt idx="8642">
                  <c:v>31.04</c:v>
                </c:pt>
                <c:pt idx="8643">
                  <c:v>38.220000000000013</c:v>
                </c:pt>
                <c:pt idx="8644">
                  <c:v>25.43</c:v>
                </c:pt>
                <c:pt idx="8645">
                  <c:v>53.85</c:v>
                </c:pt>
                <c:pt idx="8646">
                  <c:v>50.01</c:v>
                </c:pt>
                <c:pt idx="8647">
                  <c:v>25.08</c:v>
                </c:pt>
                <c:pt idx="8648">
                  <c:v>35.15</c:v>
                </c:pt>
                <c:pt idx="8649">
                  <c:v>66.989999999999995</c:v>
                </c:pt>
                <c:pt idx="8650">
                  <c:v>42.95</c:v>
                </c:pt>
                <c:pt idx="8651">
                  <c:v>41.33</c:v>
                </c:pt>
                <c:pt idx="8652">
                  <c:v>53.81</c:v>
                </c:pt>
                <c:pt idx="8653">
                  <c:v>20.079999999999988</c:v>
                </c:pt>
                <c:pt idx="8654">
                  <c:v>57.34</c:v>
                </c:pt>
                <c:pt idx="8655">
                  <c:v>50.07</c:v>
                </c:pt>
                <c:pt idx="8656">
                  <c:v>64.959999999999994</c:v>
                </c:pt>
                <c:pt idx="8657">
                  <c:v>37.06</c:v>
                </c:pt>
                <c:pt idx="8658">
                  <c:v>43.2</c:v>
                </c:pt>
                <c:pt idx="8659">
                  <c:v>43.95</c:v>
                </c:pt>
                <c:pt idx="8660">
                  <c:v>38.480000000000004</c:v>
                </c:pt>
                <c:pt idx="8661">
                  <c:v>38.96</c:v>
                </c:pt>
                <c:pt idx="8662">
                  <c:v>30.1</c:v>
                </c:pt>
                <c:pt idx="8663">
                  <c:v>39.410000000000004</c:v>
                </c:pt>
                <c:pt idx="8664">
                  <c:v>26.43</c:v>
                </c:pt>
                <c:pt idx="8665">
                  <c:v>42.61</c:v>
                </c:pt>
                <c:pt idx="8666">
                  <c:v>39.18</c:v>
                </c:pt>
                <c:pt idx="8667">
                  <c:v>59.98</c:v>
                </c:pt>
                <c:pt idx="8668">
                  <c:v>56.02</c:v>
                </c:pt>
                <c:pt idx="8669">
                  <c:v>30.419999999999987</c:v>
                </c:pt>
                <c:pt idx="8670">
                  <c:v>30.5</c:v>
                </c:pt>
                <c:pt idx="8671">
                  <c:v>31.93</c:v>
                </c:pt>
                <c:pt idx="8672">
                  <c:v>29.86</c:v>
                </c:pt>
                <c:pt idx="8673">
                  <c:v>66.649999999999991</c:v>
                </c:pt>
                <c:pt idx="8674">
                  <c:v>44.95</c:v>
                </c:pt>
                <c:pt idx="8675">
                  <c:v>31.63000000000002</c:v>
                </c:pt>
                <c:pt idx="8676">
                  <c:v>50.64</c:v>
                </c:pt>
                <c:pt idx="8677">
                  <c:v>34.86</c:v>
                </c:pt>
                <c:pt idx="8678">
                  <c:v>35.720000000000013</c:v>
                </c:pt>
                <c:pt idx="8679">
                  <c:v>44.39</c:v>
                </c:pt>
                <c:pt idx="8680">
                  <c:v>40.700000000000003</c:v>
                </c:pt>
                <c:pt idx="8681">
                  <c:v>49.96</c:v>
                </c:pt>
                <c:pt idx="8682">
                  <c:v>54.24</c:v>
                </c:pt>
                <c:pt idx="8683">
                  <c:v>44.230000000000011</c:v>
                </c:pt>
                <c:pt idx="8684">
                  <c:v>49.41</c:v>
                </c:pt>
                <c:pt idx="8685">
                  <c:v>38.160000000000011</c:v>
                </c:pt>
                <c:pt idx="8686">
                  <c:v>26.1</c:v>
                </c:pt>
                <c:pt idx="8687">
                  <c:v>46.01</c:v>
                </c:pt>
                <c:pt idx="8688">
                  <c:v>42.6</c:v>
                </c:pt>
                <c:pt idx="8689">
                  <c:v>49.06</c:v>
                </c:pt>
                <c:pt idx="8690">
                  <c:v>31.77</c:v>
                </c:pt>
                <c:pt idx="8691">
                  <c:v>19.03</c:v>
                </c:pt>
                <c:pt idx="8692">
                  <c:v>39.4</c:v>
                </c:pt>
                <c:pt idx="8693">
                  <c:v>47.87</c:v>
                </c:pt>
                <c:pt idx="8694">
                  <c:v>49.8</c:v>
                </c:pt>
                <c:pt idx="8695">
                  <c:v>49.96</c:v>
                </c:pt>
                <c:pt idx="8696">
                  <c:v>27.51</c:v>
                </c:pt>
                <c:pt idx="8697">
                  <c:v>33.020000000000003</c:v>
                </c:pt>
                <c:pt idx="8698">
                  <c:v>19.86</c:v>
                </c:pt>
                <c:pt idx="8699">
                  <c:v>43.03</c:v>
                </c:pt>
                <c:pt idx="8700">
                  <c:v>48.82</c:v>
                </c:pt>
                <c:pt idx="8701">
                  <c:v>58.55</c:v>
                </c:pt>
                <c:pt idx="8702">
                  <c:v>57.46</c:v>
                </c:pt>
                <c:pt idx="8703">
                  <c:v>44.91</c:v>
                </c:pt>
                <c:pt idx="8704">
                  <c:v>36.1</c:v>
                </c:pt>
                <c:pt idx="8705">
                  <c:v>36.07</c:v>
                </c:pt>
                <c:pt idx="8706">
                  <c:v>16.149999999999999</c:v>
                </c:pt>
                <c:pt idx="8707">
                  <c:v>24.77</c:v>
                </c:pt>
                <c:pt idx="8708">
                  <c:v>55.17</c:v>
                </c:pt>
                <c:pt idx="8709">
                  <c:v>50.57</c:v>
                </c:pt>
                <c:pt idx="8710">
                  <c:v>61.99</c:v>
                </c:pt>
                <c:pt idx="8711">
                  <c:v>78.88</c:v>
                </c:pt>
                <c:pt idx="8712">
                  <c:v>47.93</c:v>
                </c:pt>
                <c:pt idx="8713">
                  <c:v>30.89</c:v>
                </c:pt>
                <c:pt idx="8714">
                  <c:v>19.3</c:v>
                </c:pt>
                <c:pt idx="8715">
                  <c:v>51.04</c:v>
                </c:pt>
                <c:pt idx="8716">
                  <c:v>58.05</c:v>
                </c:pt>
                <c:pt idx="8717">
                  <c:v>52.1</c:v>
                </c:pt>
                <c:pt idx="8718">
                  <c:v>18.73</c:v>
                </c:pt>
                <c:pt idx="8719">
                  <c:v>35.200000000000003</c:v>
                </c:pt>
                <c:pt idx="8720">
                  <c:v>52.38</c:v>
                </c:pt>
                <c:pt idx="8721">
                  <c:v>28.21</c:v>
                </c:pt>
                <c:pt idx="8722">
                  <c:v>43.9</c:v>
                </c:pt>
                <c:pt idx="8723">
                  <c:v>17.479999999999986</c:v>
                </c:pt>
                <c:pt idx="8724">
                  <c:v>43.120000000000012</c:v>
                </c:pt>
                <c:pt idx="8725">
                  <c:v>54.95</c:v>
                </c:pt>
                <c:pt idx="8726">
                  <c:v>28.08</c:v>
                </c:pt>
                <c:pt idx="8727">
                  <c:v>55.290000000000013</c:v>
                </c:pt>
                <c:pt idx="8728">
                  <c:v>53.53</c:v>
                </c:pt>
                <c:pt idx="8729">
                  <c:v>29.77</c:v>
                </c:pt>
                <c:pt idx="8730">
                  <c:v>37.93</c:v>
                </c:pt>
                <c:pt idx="8731">
                  <c:v>19.72</c:v>
                </c:pt>
                <c:pt idx="8732">
                  <c:v>31.56</c:v>
                </c:pt>
                <c:pt idx="8733">
                  <c:v>45.47</c:v>
                </c:pt>
                <c:pt idx="8734">
                  <c:v>43.94</c:v>
                </c:pt>
                <c:pt idx="8735">
                  <c:v>54.85</c:v>
                </c:pt>
                <c:pt idx="8736">
                  <c:v>52.93</c:v>
                </c:pt>
                <c:pt idx="8737">
                  <c:v>34.980000000000004</c:v>
                </c:pt>
                <c:pt idx="8738">
                  <c:v>35.130000000000003</c:v>
                </c:pt>
                <c:pt idx="8739">
                  <c:v>35.56</c:v>
                </c:pt>
                <c:pt idx="8740">
                  <c:v>48.05</c:v>
                </c:pt>
                <c:pt idx="8741">
                  <c:v>64.510000000000005</c:v>
                </c:pt>
                <c:pt idx="8742">
                  <c:v>24.99</c:v>
                </c:pt>
                <c:pt idx="8743">
                  <c:v>21.12</c:v>
                </c:pt>
                <c:pt idx="8744">
                  <c:v>23.02</c:v>
                </c:pt>
                <c:pt idx="8745">
                  <c:v>56.18</c:v>
                </c:pt>
                <c:pt idx="8746">
                  <c:v>33.08</c:v>
                </c:pt>
                <c:pt idx="8747">
                  <c:v>51.13</c:v>
                </c:pt>
                <c:pt idx="8748">
                  <c:v>31.01</c:v>
                </c:pt>
                <c:pt idx="8749">
                  <c:v>36.090000000000003</c:v>
                </c:pt>
                <c:pt idx="8750">
                  <c:v>31.23</c:v>
                </c:pt>
                <c:pt idx="8751">
                  <c:v>52.11</c:v>
                </c:pt>
                <c:pt idx="8752">
                  <c:v>37.97</c:v>
                </c:pt>
                <c:pt idx="8753">
                  <c:v>34.94</c:v>
                </c:pt>
                <c:pt idx="8754">
                  <c:v>44.17</c:v>
                </c:pt>
                <c:pt idx="8755">
                  <c:v>36.050000000000004</c:v>
                </c:pt>
                <c:pt idx="8756">
                  <c:v>42.09</c:v>
                </c:pt>
                <c:pt idx="8757">
                  <c:v>49.4</c:v>
                </c:pt>
                <c:pt idx="8758">
                  <c:v>37.11</c:v>
                </c:pt>
                <c:pt idx="8759">
                  <c:v>44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DA-445D-9DF7-DCC38C93DE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210624"/>
        <c:axId val="277204352"/>
      </c:lineChart>
      <c:lineChart>
        <c:grouping val="standard"/>
        <c:varyColors val="0"/>
        <c:ser>
          <c:idx val="1"/>
          <c:order val="0"/>
          <c:tx>
            <c:strRef>
              <c:f>Tabelle1!$C$1</c:f>
              <c:strCache>
                <c:ptCount val="1"/>
                <c:pt idx="0">
                  <c:v>Windeinspeisung in MW</c:v>
                </c:pt>
              </c:strCache>
            </c:strRef>
          </c:tx>
          <c:spPr>
            <a:ln w="31750"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Tabelle1!$A$2:$A$8761</c:f>
              <c:numCache>
                <c:formatCode>General</c:formatCode>
                <c:ptCount val="8760"/>
              </c:numCache>
            </c:numRef>
          </c:cat>
          <c:val>
            <c:numRef>
              <c:f>Tabelle1!$C$2:$C$8761</c:f>
              <c:numCache>
                <c:formatCode>General</c:formatCode>
                <c:ptCount val="8760"/>
                <c:pt idx="0">
                  <c:v>36954.788000000008</c:v>
                </c:pt>
                <c:pt idx="1">
                  <c:v>36435.08</c:v>
                </c:pt>
                <c:pt idx="2">
                  <c:v>36157.112000000001</c:v>
                </c:pt>
                <c:pt idx="3">
                  <c:v>36097.646000000008</c:v>
                </c:pt>
                <c:pt idx="4">
                  <c:v>36019.948000000011</c:v>
                </c:pt>
                <c:pt idx="5">
                  <c:v>35966.785000000003</c:v>
                </c:pt>
                <c:pt idx="6">
                  <c:v>35742.443000000007</c:v>
                </c:pt>
                <c:pt idx="7">
                  <c:v>35729.179000000004</c:v>
                </c:pt>
                <c:pt idx="8">
                  <c:v>35708.573000000004</c:v>
                </c:pt>
                <c:pt idx="9">
                  <c:v>35538.554000000011</c:v>
                </c:pt>
                <c:pt idx="10">
                  <c:v>35396.191999999995</c:v>
                </c:pt>
                <c:pt idx="11">
                  <c:v>35388.583000000006</c:v>
                </c:pt>
                <c:pt idx="12">
                  <c:v>35382.723999999995</c:v>
                </c:pt>
                <c:pt idx="13">
                  <c:v>35169.556000000011</c:v>
                </c:pt>
                <c:pt idx="14">
                  <c:v>35128.759999999995</c:v>
                </c:pt>
                <c:pt idx="15">
                  <c:v>35106.170000000006</c:v>
                </c:pt>
                <c:pt idx="16">
                  <c:v>35105.087</c:v>
                </c:pt>
                <c:pt idx="17">
                  <c:v>35055.118000000002</c:v>
                </c:pt>
                <c:pt idx="18">
                  <c:v>34993.996999999996</c:v>
                </c:pt>
                <c:pt idx="19">
                  <c:v>34673.382000000012</c:v>
                </c:pt>
                <c:pt idx="20">
                  <c:v>34596.219000000005</c:v>
                </c:pt>
                <c:pt idx="21">
                  <c:v>34577.551000000007</c:v>
                </c:pt>
                <c:pt idx="22">
                  <c:v>34449.552000000003</c:v>
                </c:pt>
                <c:pt idx="23">
                  <c:v>34414.007000000005</c:v>
                </c:pt>
                <c:pt idx="24">
                  <c:v>34383.124999999993</c:v>
                </c:pt>
                <c:pt idx="25">
                  <c:v>34255.020999999993</c:v>
                </c:pt>
                <c:pt idx="26">
                  <c:v>34094.371000000006</c:v>
                </c:pt>
                <c:pt idx="27">
                  <c:v>34043.603999999999</c:v>
                </c:pt>
                <c:pt idx="28">
                  <c:v>34003.81500000001</c:v>
                </c:pt>
                <c:pt idx="29">
                  <c:v>33990.32</c:v>
                </c:pt>
                <c:pt idx="30">
                  <c:v>33930.007000000005</c:v>
                </c:pt>
                <c:pt idx="31">
                  <c:v>33824.998</c:v>
                </c:pt>
                <c:pt idx="32">
                  <c:v>33753.364000000001</c:v>
                </c:pt>
                <c:pt idx="33">
                  <c:v>33732.965000000004</c:v>
                </c:pt>
                <c:pt idx="34">
                  <c:v>33662.458000000013</c:v>
                </c:pt>
                <c:pt idx="35">
                  <c:v>33650.554000000011</c:v>
                </c:pt>
                <c:pt idx="36">
                  <c:v>33640.983</c:v>
                </c:pt>
                <c:pt idx="37">
                  <c:v>33400.253000000004</c:v>
                </c:pt>
                <c:pt idx="38">
                  <c:v>33277.367000000006</c:v>
                </c:pt>
                <c:pt idx="39">
                  <c:v>33192.859000000011</c:v>
                </c:pt>
                <c:pt idx="40">
                  <c:v>33171.493000000002</c:v>
                </c:pt>
                <c:pt idx="41">
                  <c:v>33141.409</c:v>
                </c:pt>
                <c:pt idx="42">
                  <c:v>33130.258000000002</c:v>
                </c:pt>
                <c:pt idx="43">
                  <c:v>33108.816000000013</c:v>
                </c:pt>
                <c:pt idx="44">
                  <c:v>33057.682000000001</c:v>
                </c:pt>
                <c:pt idx="45">
                  <c:v>33048.543000000005</c:v>
                </c:pt>
                <c:pt idx="46">
                  <c:v>33030.043000000005</c:v>
                </c:pt>
                <c:pt idx="47">
                  <c:v>33012.181000000004</c:v>
                </c:pt>
                <c:pt idx="48">
                  <c:v>32949.169000000002</c:v>
                </c:pt>
                <c:pt idx="49">
                  <c:v>32944.206999999995</c:v>
                </c:pt>
                <c:pt idx="50">
                  <c:v>32943.506000000001</c:v>
                </c:pt>
                <c:pt idx="51">
                  <c:v>32923.415000000001</c:v>
                </c:pt>
                <c:pt idx="52">
                  <c:v>32916.835000000006</c:v>
                </c:pt>
                <c:pt idx="53">
                  <c:v>32914.428</c:v>
                </c:pt>
                <c:pt idx="54">
                  <c:v>32885.364000000001</c:v>
                </c:pt>
                <c:pt idx="55">
                  <c:v>32796.449000000001</c:v>
                </c:pt>
                <c:pt idx="56">
                  <c:v>32764.456000000009</c:v>
                </c:pt>
                <c:pt idx="57">
                  <c:v>32659.104000000003</c:v>
                </c:pt>
                <c:pt idx="58">
                  <c:v>32593.340999999997</c:v>
                </c:pt>
                <c:pt idx="59">
                  <c:v>32586.912999999997</c:v>
                </c:pt>
                <c:pt idx="60">
                  <c:v>32558.887999999999</c:v>
                </c:pt>
                <c:pt idx="61">
                  <c:v>32501.709000000003</c:v>
                </c:pt>
                <c:pt idx="62">
                  <c:v>32487.07</c:v>
                </c:pt>
                <c:pt idx="63">
                  <c:v>32483.685999999998</c:v>
                </c:pt>
                <c:pt idx="64">
                  <c:v>32461.453000000001</c:v>
                </c:pt>
                <c:pt idx="65">
                  <c:v>32448.353999999996</c:v>
                </c:pt>
                <c:pt idx="66">
                  <c:v>32439.526999999998</c:v>
                </c:pt>
                <c:pt idx="67">
                  <c:v>32345.262000000021</c:v>
                </c:pt>
                <c:pt idx="68">
                  <c:v>32321.293000000001</c:v>
                </c:pt>
                <c:pt idx="69">
                  <c:v>32310.162000000004</c:v>
                </c:pt>
                <c:pt idx="70">
                  <c:v>32229.062000000005</c:v>
                </c:pt>
                <c:pt idx="71">
                  <c:v>32200.038999999997</c:v>
                </c:pt>
                <c:pt idx="72">
                  <c:v>32195.196</c:v>
                </c:pt>
                <c:pt idx="73">
                  <c:v>32173.099000000002</c:v>
                </c:pt>
                <c:pt idx="74">
                  <c:v>32141.74</c:v>
                </c:pt>
                <c:pt idx="75">
                  <c:v>32093.823</c:v>
                </c:pt>
                <c:pt idx="76">
                  <c:v>32082.482000000022</c:v>
                </c:pt>
                <c:pt idx="77">
                  <c:v>32074.218999999997</c:v>
                </c:pt>
                <c:pt idx="78">
                  <c:v>32069.020999999997</c:v>
                </c:pt>
                <c:pt idx="79">
                  <c:v>32062.368439999998</c:v>
                </c:pt>
                <c:pt idx="80">
                  <c:v>32043.354000000003</c:v>
                </c:pt>
                <c:pt idx="81">
                  <c:v>32005.548999999999</c:v>
                </c:pt>
                <c:pt idx="82">
                  <c:v>31948.274999999998</c:v>
                </c:pt>
                <c:pt idx="83">
                  <c:v>31943.543999999998</c:v>
                </c:pt>
                <c:pt idx="84">
                  <c:v>31932.605</c:v>
                </c:pt>
                <c:pt idx="85">
                  <c:v>31860.024999999998</c:v>
                </c:pt>
                <c:pt idx="86">
                  <c:v>31849.66</c:v>
                </c:pt>
                <c:pt idx="87">
                  <c:v>31839.637000000002</c:v>
                </c:pt>
                <c:pt idx="88">
                  <c:v>31822.074999999997</c:v>
                </c:pt>
                <c:pt idx="89">
                  <c:v>31812.334999999992</c:v>
                </c:pt>
                <c:pt idx="90">
                  <c:v>31776.465000000018</c:v>
                </c:pt>
                <c:pt idx="91">
                  <c:v>31771.273999999998</c:v>
                </c:pt>
                <c:pt idx="92">
                  <c:v>31744.417000000001</c:v>
                </c:pt>
                <c:pt idx="93">
                  <c:v>31712.965000000018</c:v>
                </c:pt>
                <c:pt idx="94">
                  <c:v>31680.561999999998</c:v>
                </c:pt>
                <c:pt idx="95">
                  <c:v>31674.535000000003</c:v>
                </c:pt>
                <c:pt idx="96">
                  <c:v>31648.823</c:v>
                </c:pt>
                <c:pt idx="97">
                  <c:v>31644.938999999998</c:v>
                </c:pt>
                <c:pt idx="98">
                  <c:v>31636.482000000022</c:v>
                </c:pt>
                <c:pt idx="99">
                  <c:v>31633.335999999996</c:v>
                </c:pt>
                <c:pt idx="100">
                  <c:v>31589.941000000021</c:v>
                </c:pt>
                <c:pt idx="101">
                  <c:v>31539.76100000002</c:v>
                </c:pt>
                <c:pt idx="102">
                  <c:v>31538.904999999999</c:v>
                </c:pt>
                <c:pt idx="103">
                  <c:v>31484.393</c:v>
                </c:pt>
                <c:pt idx="104">
                  <c:v>31474.277999999998</c:v>
                </c:pt>
                <c:pt idx="105">
                  <c:v>31462.018</c:v>
                </c:pt>
                <c:pt idx="106">
                  <c:v>31446.009999999973</c:v>
                </c:pt>
                <c:pt idx="107">
                  <c:v>31444.498000000021</c:v>
                </c:pt>
                <c:pt idx="108">
                  <c:v>31432.273000000001</c:v>
                </c:pt>
                <c:pt idx="109">
                  <c:v>31415.592000000004</c:v>
                </c:pt>
                <c:pt idx="110">
                  <c:v>31407.593999999997</c:v>
                </c:pt>
                <c:pt idx="111">
                  <c:v>31389.606999999996</c:v>
                </c:pt>
                <c:pt idx="112">
                  <c:v>31385.829999999976</c:v>
                </c:pt>
                <c:pt idx="113">
                  <c:v>31356.373329999977</c:v>
                </c:pt>
                <c:pt idx="114">
                  <c:v>31354.053</c:v>
                </c:pt>
                <c:pt idx="115">
                  <c:v>31350.432999999997</c:v>
                </c:pt>
                <c:pt idx="116">
                  <c:v>31331.657999999996</c:v>
                </c:pt>
                <c:pt idx="117">
                  <c:v>31313.349000000002</c:v>
                </c:pt>
                <c:pt idx="118">
                  <c:v>31301.874</c:v>
                </c:pt>
                <c:pt idx="119">
                  <c:v>31301.387999999995</c:v>
                </c:pt>
                <c:pt idx="120">
                  <c:v>31290.765000000021</c:v>
                </c:pt>
                <c:pt idx="121">
                  <c:v>31264.718999999997</c:v>
                </c:pt>
                <c:pt idx="122">
                  <c:v>31241.842000000004</c:v>
                </c:pt>
                <c:pt idx="123">
                  <c:v>31231.324999999997</c:v>
                </c:pt>
                <c:pt idx="124">
                  <c:v>31215.444000000021</c:v>
                </c:pt>
                <c:pt idx="125">
                  <c:v>31196.313999999977</c:v>
                </c:pt>
                <c:pt idx="126">
                  <c:v>31169.044000000005</c:v>
                </c:pt>
                <c:pt idx="127">
                  <c:v>31161.283000000021</c:v>
                </c:pt>
                <c:pt idx="128">
                  <c:v>31115.796000000009</c:v>
                </c:pt>
                <c:pt idx="129">
                  <c:v>31110.627</c:v>
                </c:pt>
                <c:pt idx="130">
                  <c:v>31072.348000000005</c:v>
                </c:pt>
                <c:pt idx="131">
                  <c:v>31070.938999999998</c:v>
                </c:pt>
                <c:pt idx="132">
                  <c:v>31060.662</c:v>
                </c:pt>
                <c:pt idx="133">
                  <c:v>31059.843999999997</c:v>
                </c:pt>
                <c:pt idx="134">
                  <c:v>31023.718999999997</c:v>
                </c:pt>
                <c:pt idx="135">
                  <c:v>31021.551000000003</c:v>
                </c:pt>
                <c:pt idx="136">
                  <c:v>30974.38600000002</c:v>
                </c:pt>
                <c:pt idx="137">
                  <c:v>30938.951000000001</c:v>
                </c:pt>
                <c:pt idx="138">
                  <c:v>30931.962000000021</c:v>
                </c:pt>
                <c:pt idx="139">
                  <c:v>30913.694999999996</c:v>
                </c:pt>
                <c:pt idx="140">
                  <c:v>30883.51</c:v>
                </c:pt>
                <c:pt idx="141">
                  <c:v>30869.898000000001</c:v>
                </c:pt>
                <c:pt idx="142">
                  <c:v>30864.649999999983</c:v>
                </c:pt>
                <c:pt idx="143">
                  <c:v>30854.638000000003</c:v>
                </c:pt>
                <c:pt idx="144">
                  <c:v>30839.596000000001</c:v>
                </c:pt>
                <c:pt idx="145">
                  <c:v>30804.974000000009</c:v>
                </c:pt>
                <c:pt idx="146">
                  <c:v>30775.204000000005</c:v>
                </c:pt>
                <c:pt idx="147">
                  <c:v>30751.121000000003</c:v>
                </c:pt>
                <c:pt idx="148">
                  <c:v>30741.429</c:v>
                </c:pt>
                <c:pt idx="149">
                  <c:v>30736.66</c:v>
                </c:pt>
                <c:pt idx="150">
                  <c:v>30715.860000000004</c:v>
                </c:pt>
                <c:pt idx="151">
                  <c:v>30711.142999999996</c:v>
                </c:pt>
                <c:pt idx="152">
                  <c:v>30709.168000000001</c:v>
                </c:pt>
                <c:pt idx="153">
                  <c:v>30705.065000000021</c:v>
                </c:pt>
                <c:pt idx="154">
                  <c:v>30691.524999999998</c:v>
                </c:pt>
                <c:pt idx="155">
                  <c:v>30689.384999999995</c:v>
                </c:pt>
                <c:pt idx="156">
                  <c:v>30681.731</c:v>
                </c:pt>
                <c:pt idx="157">
                  <c:v>30667.633000000002</c:v>
                </c:pt>
                <c:pt idx="158">
                  <c:v>30660.752</c:v>
                </c:pt>
                <c:pt idx="159">
                  <c:v>30643.748000000021</c:v>
                </c:pt>
                <c:pt idx="160">
                  <c:v>30641.282999999999</c:v>
                </c:pt>
                <c:pt idx="161">
                  <c:v>30628.346000000001</c:v>
                </c:pt>
                <c:pt idx="162">
                  <c:v>30619.071</c:v>
                </c:pt>
                <c:pt idx="163">
                  <c:v>30616.419000000002</c:v>
                </c:pt>
                <c:pt idx="164">
                  <c:v>30590.634999999977</c:v>
                </c:pt>
                <c:pt idx="165">
                  <c:v>30568.035</c:v>
                </c:pt>
                <c:pt idx="166">
                  <c:v>30567.881000000005</c:v>
                </c:pt>
                <c:pt idx="167">
                  <c:v>30560.382999999998</c:v>
                </c:pt>
                <c:pt idx="168">
                  <c:v>30545.866000000005</c:v>
                </c:pt>
                <c:pt idx="169">
                  <c:v>30538.980000000021</c:v>
                </c:pt>
                <c:pt idx="170">
                  <c:v>30514.061000000005</c:v>
                </c:pt>
                <c:pt idx="171">
                  <c:v>30500.240999999998</c:v>
                </c:pt>
                <c:pt idx="172">
                  <c:v>30486.64999999998</c:v>
                </c:pt>
                <c:pt idx="173">
                  <c:v>30470.502</c:v>
                </c:pt>
                <c:pt idx="174">
                  <c:v>30470.11399999998</c:v>
                </c:pt>
                <c:pt idx="175">
                  <c:v>30463.793000000001</c:v>
                </c:pt>
                <c:pt idx="176">
                  <c:v>30449.173000000003</c:v>
                </c:pt>
                <c:pt idx="177">
                  <c:v>30442.874</c:v>
                </c:pt>
                <c:pt idx="178">
                  <c:v>30442.823</c:v>
                </c:pt>
                <c:pt idx="179">
                  <c:v>30437.805999999997</c:v>
                </c:pt>
                <c:pt idx="180">
                  <c:v>30435.449000000001</c:v>
                </c:pt>
                <c:pt idx="181">
                  <c:v>30421.108999999997</c:v>
                </c:pt>
                <c:pt idx="182">
                  <c:v>30405.208999999999</c:v>
                </c:pt>
                <c:pt idx="183">
                  <c:v>30378.427000000025</c:v>
                </c:pt>
                <c:pt idx="184">
                  <c:v>30375.358999999997</c:v>
                </c:pt>
                <c:pt idx="185">
                  <c:v>30364.280000000021</c:v>
                </c:pt>
                <c:pt idx="186">
                  <c:v>30357.793999999998</c:v>
                </c:pt>
                <c:pt idx="187">
                  <c:v>30335.050999999996</c:v>
                </c:pt>
                <c:pt idx="188">
                  <c:v>30334.018999999997</c:v>
                </c:pt>
                <c:pt idx="189">
                  <c:v>30323.399999999976</c:v>
                </c:pt>
                <c:pt idx="190">
                  <c:v>30316.402000000009</c:v>
                </c:pt>
                <c:pt idx="191">
                  <c:v>30314.624</c:v>
                </c:pt>
                <c:pt idx="192">
                  <c:v>30277.331999999977</c:v>
                </c:pt>
                <c:pt idx="193">
                  <c:v>30258.915999999997</c:v>
                </c:pt>
                <c:pt idx="194">
                  <c:v>30240.868000000009</c:v>
                </c:pt>
                <c:pt idx="195">
                  <c:v>30239.716000000004</c:v>
                </c:pt>
                <c:pt idx="196">
                  <c:v>30230.634999999977</c:v>
                </c:pt>
                <c:pt idx="197">
                  <c:v>30225.29</c:v>
                </c:pt>
                <c:pt idx="198">
                  <c:v>30220.186999999998</c:v>
                </c:pt>
                <c:pt idx="199">
                  <c:v>30211.304</c:v>
                </c:pt>
                <c:pt idx="200">
                  <c:v>30191.882999999998</c:v>
                </c:pt>
                <c:pt idx="201">
                  <c:v>30179.711000000003</c:v>
                </c:pt>
                <c:pt idx="202">
                  <c:v>30173.207000000009</c:v>
                </c:pt>
                <c:pt idx="203">
                  <c:v>30163.431</c:v>
                </c:pt>
                <c:pt idx="204">
                  <c:v>30162.171000000002</c:v>
                </c:pt>
                <c:pt idx="205">
                  <c:v>30156.418000000001</c:v>
                </c:pt>
                <c:pt idx="206">
                  <c:v>30137.644</c:v>
                </c:pt>
                <c:pt idx="207">
                  <c:v>30111.913</c:v>
                </c:pt>
                <c:pt idx="208">
                  <c:v>30056.205000000005</c:v>
                </c:pt>
                <c:pt idx="209">
                  <c:v>30026.461000000021</c:v>
                </c:pt>
                <c:pt idx="210">
                  <c:v>30025.848999999998</c:v>
                </c:pt>
                <c:pt idx="211">
                  <c:v>30022.524999999998</c:v>
                </c:pt>
                <c:pt idx="212">
                  <c:v>30013.045890000027</c:v>
                </c:pt>
                <c:pt idx="213">
                  <c:v>30002.732</c:v>
                </c:pt>
                <c:pt idx="214">
                  <c:v>29986.248000000021</c:v>
                </c:pt>
                <c:pt idx="215">
                  <c:v>29986.154000000002</c:v>
                </c:pt>
                <c:pt idx="216">
                  <c:v>29966.364999999998</c:v>
                </c:pt>
                <c:pt idx="217">
                  <c:v>29925.827000000001</c:v>
                </c:pt>
                <c:pt idx="218">
                  <c:v>29896.898000000001</c:v>
                </c:pt>
                <c:pt idx="219">
                  <c:v>29892.012000000002</c:v>
                </c:pt>
                <c:pt idx="220">
                  <c:v>29879.734</c:v>
                </c:pt>
                <c:pt idx="221">
                  <c:v>29870.588000000018</c:v>
                </c:pt>
                <c:pt idx="222">
                  <c:v>29864.795000000009</c:v>
                </c:pt>
                <c:pt idx="223">
                  <c:v>29860.088000000022</c:v>
                </c:pt>
                <c:pt idx="224">
                  <c:v>29856.362999999998</c:v>
                </c:pt>
                <c:pt idx="225">
                  <c:v>29848.098999999998</c:v>
                </c:pt>
                <c:pt idx="226">
                  <c:v>29835.79700000002</c:v>
                </c:pt>
                <c:pt idx="227">
                  <c:v>29831.777999999998</c:v>
                </c:pt>
                <c:pt idx="228">
                  <c:v>29803.062000000005</c:v>
                </c:pt>
                <c:pt idx="229">
                  <c:v>29783.615999999976</c:v>
                </c:pt>
                <c:pt idx="230">
                  <c:v>29778.156000000003</c:v>
                </c:pt>
                <c:pt idx="231">
                  <c:v>29777.884000000005</c:v>
                </c:pt>
                <c:pt idx="232">
                  <c:v>29771.102000000003</c:v>
                </c:pt>
                <c:pt idx="233">
                  <c:v>29731.043000000001</c:v>
                </c:pt>
                <c:pt idx="234">
                  <c:v>29722.933999999997</c:v>
                </c:pt>
                <c:pt idx="235">
                  <c:v>29719.217000000001</c:v>
                </c:pt>
                <c:pt idx="236">
                  <c:v>29717.644</c:v>
                </c:pt>
                <c:pt idx="237">
                  <c:v>29715.538999999993</c:v>
                </c:pt>
                <c:pt idx="238">
                  <c:v>29714.651999999976</c:v>
                </c:pt>
                <c:pt idx="239">
                  <c:v>29700.812999999976</c:v>
                </c:pt>
                <c:pt idx="240">
                  <c:v>29691.181</c:v>
                </c:pt>
                <c:pt idx="241">
                  <c:v>29681.071</c:v>
                </c:pt>
                <c:pt idx="242">
                  <c:v>29667.858999999997</c:v>
                </c:pt>
                <c:pt idx="243">
                  <c:v>29616.186999999998</c:v>
                </c:pt>
                <c:pt idx="244">
                  <c:v>29597.573</c:v>
                </c:pt>
                <c:pt idx="245">
                  <c:v>29595.458999999995</c:v>
                </c:pt>
                <c:pt idx="246">
                  <c:v>29573.650999999976</c:v>
                </c:pt>
                <c:pt idx="247">
                  <c:v>29571.14999999998</c:v>
                </c:pt>
                <c:pt idx="248">
                  <c:v>29566.885999999995</c:v>
                </c:pt>
                <c:pt idx="249">
                  <c:v>29559</c:v>
                </c:pt>
                <c:pt idx="250">
                  <c:v>29507.826000000001</c:v>
                </c:pt>
                <c:pt idx="251">
                  <c:v>29507.655999999992</c:v>
                </c:pt>
                <c:pt idx="252">
                  <c:v>29490.660000000003</c:v>
                </c:pt>
                <c:pt idx="253">
                  <c:v>29468.312000000002</c:v>
                </c:pt>
                <c:pt idx="254">
                  <c:v>29461.480000000021</c:v>
                </c:pt>
                <c:pt idx="255">
                  <c:v>29422.395</c:v>
                </c:pt>
                <c:pt idx="256">
                  <c:v>29420.894</c:v>
                </c:pt>
                <c:pt idx="257">
                  <c:v>29405.256000000001</c:v>
                </c:pt>
                <c:pt idx="258">
                  <c:v>29382.168999999994</c:v>
                </c:pt>
                <c:pt idx="259">
                  <c:v>29374.909000000003</c:v>
                </c:pt>
                <c:pt idx="260">
                  <c:v>29354.668000000001</c:v>
                </c:pt>
                <c:pt idx="261">
                  <c:v>29344.435000000001</c:v>
                </c:pt>
                <c:pt idx="262">
                  <c:v>29305.758999999998</c:v>
                </c:pt>
                <c:pt idx="263">
                  <c:v>29305.469000000005</c:v>
                </c:pt>
                <c:pt idx="264">
                  <c:v>29281.874</c:v>
                </c:pt>
                <c:pt idx="265">
                  <c:v>29280.965000000026</c:v>
                </c:pt>
                <c:pt idx="266">
                  <c:v>29268.304000000004</c:v>
                </c:pt>
                <c:pt idx="267">
                  <c:v>29249.973000000005</c:v>
                </c:pt>
                <c:pt idx="268">
                  <c:v>29235.670000000002</c:v>
                </c:pt>
                <c:pt idx="269">
                  <c:v>29234.103000000003</c:v>
                </c:pt>
                <c:pt idx="270">
                  <c:v>29222.652999999977</c:v>
                </c:pt>
                <c:pt idx="271">
                  <c:v>29203.564999999999</c:v>
                </c:pt>
                <c:pt idx="272">
                  <c:v>29192.991000000005</c:v>
                </c:pt>
                <c:pt idx="273">
                  <c:v>29163.864999999998</c:v>
                </c:pt>
                <c:pt idx="274">
                  <c:v>29155.078999999998</c:v>
                </c:pt>
                <c:pt idx="275">
                  <c:v>29146.345000000001</c:v>
                </c:pt>
                <c:pt idx="276">
                  <c:v>29144.984000000026</c:v>
                </c:pt>
                <c:pt idx="277">
                  <c:v>29129.612999999979</c:v>
                </c:pt>
                <c:pt idx="278">
                  <c:v>29061.595999999998</c:v>
                </c:pt>
                <c:pt idx="279">
                  <c:v>29051.416999999998</c:v>
                </c:pt>
                <c:pt idx="280">
                  <c:v>29031.165000000001</c:v>
                </c:pt>
                <c:pt idx="281">
                  <c:v>29019.369000000002</c:v>
                </c:pt>
                <c:pt idx="282">
                  <c:v>29016.808999999997</c:v>
                </c:pt>
                <c:pt idx="283">
                  <c:v>29006.828999999998</c:v>
                </c:pt>
                <c:pt idx="284">
                  <c:v>28988.288000000022</c:v>
                </c:pt>
                <c:pt idx="285">
                  <c:v>28984.145</c:v>
                </c:pt>
                <c:pt idx="286">
                  <c:v>28983.370999999996</c:v>
                </c:pt>
                <c:pt idx="287">
                  <c:v>28946.887000000021</c:v>
                </c:pt>
                <c:pt idx="288">
                  <c:v>28924.648999999998</c:v>
                </c:pt>
                <c:pt idx="289">
                  <c:v>28915.303999999996</c:v>
                </c:pt>
                <c:pt idx="290">
                  <c:v>28912.995999999999</c:v>
                </c:pt>
                <c:pt idx="291">
                  <c:v>28898.421999999999</c:v>
                </c:pt>
                <c:pt idx="292">
                  <c:v>28877.393999999997</c:v>
                </c:pt>
                <c:pt idx="293">
                  <c:v>28857.377000000004</c:v>
                </c:pt>
                <c:pt idx="294">
                  <c:v>28849.296999999999</c:v>
                </c:pt>
                <c:pt idx="295">
                  <c:v>28825.201000000001</c:v>
                </c:pt>
                <c:pt idx="296">
                  <c:v>28802.912</c:v>
                </c:pt>
                <c:pt idx="297">
                  <c:v>28800.621999999996</c:v>
                </c:pt>
                <c:pt idx="298">
                  <c:v>28792.723000000005</c:v>
                </c:pt>
                <c:pt idx="299">
                  <c:v>28774.393</c:v>
                </c:pt>
                <c:pt idx="300">
                  <c:v>28773.798169999998</c:v>
                </c:pt>
                <c:pt idx="301">
                  <c:v>28761.012999999992</c:v>
                </c:pt>
                <c:pt idx="302">
                  <c:v>28683.918999999998</c:v>
                </c:pt>
                <c:pt idx="303">
                  <c:v>28676.506000000001</c:v>
                </c:pt>
                <c:pt idx="304">
                  <c:v>28636.131999999976</c:v>
                </c:pt>
                <c:pt idx="305">
                  <c:v>28614.067999999999</c:v>
                </c:pt>
                <c:pt idx="306">
                  <c:v>28596.609999999979</c:v>
                </c:pt>
                <c:pt idx="307">
                  <c:v>28577.269</c:v>
                </c:pt>
                <c:pt idx="308">
                  <c:v>28574.157999999996</c:v>
                </c:pt>
                <c:pt idx="309">
                  <c:v>28546.291999999998</c:v>
                </c:pt>
                <c:pt idx="310">
                  <c:v>28533.221999999998</c:v>
                </c:pt>
                <c:pt idx="311">
                  <c:v>28512.856</c:v>
                </c:pt>
                <c:pt idx="312">
                  <c:v>28499.967000000022</c:v>
                </c:pt>
                <c:pt idx="313">
                  <c:v>28497.261999999995</c:v>
                </c:pt>
                <c:pt idx="314">
                  <c:v>28452.235000000004</c:v>
                </c:pt>
                <c:pt idx="315">
                  <c:v>28431.542000000001</c:v>
                </c:pt>
                <c:pt idx="316">
                  <c:v>28414.028999999999</c:v>
                </c:pt>
                <c:pt idx="317">
                  <c:v>28409.667999999998</c:v>
                </c:pt>
                <c:pt idx="318">
                  <c:v>28405.274000000001</c:v>
                </c:pt>
                <c:pt idx="319">
                  <c:v>28398.938999999998</c:v>
                </c:pt>
                <c:pt idx="320">
                  <c:v>28393.261999999999</c:v>
                </c:pt>
                <c:pt idx="321">
                  <c:v>28390.741999999998</c:v>
                </c:pt>
                <c:pt idx="322">
                  <c:v>28388.120000000003</c:v>
                </c:pt>
                <c:pt idx="323">
                  <c:v>28382.268000000025</c:v>
                </c:pt>
                <c:pt idx="324">
                  <c:v>28381.403999999999</c:v>
                </c:pt>
                <c:pt idx="325">
                  <c:v>28362.518000000004</c:v>
                </c:pt>
                <c:pt idx="326">
                  <c:v>28360.560000000001</c:v>
                </c:pt>
                <c:pt idx="327">
                  <c:v>28357.715</c:v>
                </c:pt>
                <c:pt idx="328">
                  <c:v>28343.784000000021</c:v>
                </c:pt>
                <c:pt idx="329">
                  <c:v>28340.223000000005</c:v>
                </c:pt>
                <c:pt idx="330">
                  <c:v>28327.019999999971</c:v>
                </c:pt>
                <c:pt idx="331">
                  <c:v>28309.702000000005</c:v>
                </c:pt>
                <c:pt idx="332">
                  <c:v>28305.851000000002</c:v>
                </c:pt>
                <c:pt idx="333">
                  <c:v>28302.398999999998</c:v>
                </c:pt>
                <c:pt idx="334">
                  <c:v>28293.165000000001</c:v>
                </c:pt>
                <c:pt idx="335">
                  <c:v>28271.028000000009</c:v>
                </c:pt>
                <c:pt idx="336">
                  <c:v>28253.945445000023</c:v>
                </c:pt>
                <c:pt idx="337">
                  <c:v>28252.552999999996</c:v>
                </c:pt>
                <c:pt idx="338">
                  <c:v>28245.814000000002</c:v>
                </c:pt>
                <c:pt idx="339">
                  <c:v>28217.397999999997</c:v>
                </c:pt>
                <c:pt idx="340">
                  <c:v>28195.341</c:v>
                </c:pt>
                <c:pt idx="341">
                  <c:v>28169.939000000002</c:v>
                </c:pt>
                <c:pt idx="342">
                  <c:v>28159.358999999997</c:v>
                </c:pt>
                <c:pt idx="343">
                  <c:v>28159.206000000009</c:v>
                </c:pt>
                <c:pt idx="344">
                  <c:v>28142.233</c:v>
                </c:pt>
                <c:pt idx="345">
                  <c:v>28117.757999999998</c:v>
                </c:pt>
                <c:pt idx="346">
                  <c:v>28114.727999999999</c:v>
                </c:pt>
                <c:pt idx="347">
                  <c:v>28109.850000000002</c:v>
                </c:pt>
                <c:pt idx="348">
                  <c:v>28081.239999999976</c:v>
                </c:pt>
                <c:pt idx="349">
                  <c:v>28070.216</c:v>
                </c:pt>
                <c:pt idx="350">
                  <c:v>28039.586220000005</c:v>
                </c:pt>
                <c:pt idx="351">
                  <c:v>28037.902999999995</c:v>
                </c:pt>
                <c:pt idx="352">
                  <c:v>28034.815000000002</c:v>
                </c:pt>
                <c:pt idx="353">
                  <c:v>28025.226999999999</c:v>
                </c:pt>
                <c:pt idx="354">
                  <c:v>28021.142</c:v>
                </c:pt>
                <c:pt idx="355">
                  <c:v>28016.225999999999</c:v>
                </c:pt>
                <c:pt idx="356">
                  <c:v>27996.848000000005</c:v>
                </c:pt>
                <c:pt idx="357">
                  <c:v>27984.626999999997</c:v>
                </c:pt>
                <c:pt idx="358">
                  <c:v>27979.182000000001</c:v>
                </c:pt>
                <c:pt idx="359">
                  <c:v>27967.82655999998</c:v>
                </c:pt>
                <c:pt idx="360">
                  <c:v>27957.166000000001</c:v>
                </c:pt>
                <c:pt idx="361">
                  <c:v>27943.144000000004</c:v>
                </c:pt>
                <c:pt idx="362">
                  <c:v>27936.34</c:v>
                </c:pt>
                <c:pt idx="363">
                  <c:v>27924.971000000001</c:v>
                </c:pt>
                <c:pt idx="364">
                  <c:v>27921.143</c:v>
                </c:pt>
                <c:pt idx="365">
                  <c:v>27914.84</c:v>
                </c:pt>
                <c:pt idx="366">
                  <c:v>27900.29700000002</c:v>
                </c:pt>
                <c:pt idx="367">
                  <c:v>27892.664000000001</c:v>
                </c:pt>
                <c:pt idx="368">
                  <c:v>27887.851999999992</c:v>
                </c:pt>
                <c:pt idx="369">
                  <c:v>27880.429</c:v>
                </c:pt>
                <c:pt idx="370">
                  <c:v>27875.842999999997</c:v>
                </c:pt>
                <c:pt idx="371">
                  <c:v>27867.070000000003</c:v>
                </c:pt>
                <c:pt idx="372">
                  <c:v>27859.316999999992</c:v>
                </c:pt>
                <c:pt idx="373">
                  <c:v>27815.187999999998</c:v>
                </c:pt>
                <c:pt idx="374">
                  <c:v>27809.076000000001</c:v>
                </c:pt>
                <c:pt idx="375">
                  <c:v>27786.698999999997</c:v>
                </c:pt>
                <c:pt idx="376">
                  <c:v>27779.239999999976</c:v>
                </c:pt>
                <c:pt idx="377">
                  <c:v>27756.271055999998</c:v>
                </c:pt>
                <c:pt idx="378">
                  <c:v>27751.815999999992</c:v>
                </c:pt>
                <c:pt idx="379">
                  <c:v>27736.208999999999</c:v>
                </c:pt>
                <c:pt idx="380">
                  <c:v>27725.395</c:v>
                </c:pt>
                <c:pt idx="381">
                  <c:v>27719.481000000022</c:v>
                </c:pt>
                <c:pt idx="382">
                  <c:v>27714.652000000002</c:v>
                </c:pt>
                <c:pt idx="383">
                  <c:v>27711.031000000003</c:v>
                </c:pt>
                <c:pt idx="384">
                  <c:v>27696.572999999997</c:v>
                </c:pt>
                <c:pt idx="385">
                  <c:v>27672.646000000001</c:v>
                </c:pt>
                <c:pt idx="386">
                  <c:v>27641.841</c:v>
                </c:pt>
                <c:pt idx="387">
                  <c:v>27638.415999999997</c:v>
                </c:pt>
                <c:pt idx="388">
                  <c:v>27634.023000000001</c:v>
                </c:pt>
                <c:pt idx="389">
                  <c:v>27623.695</c:v>
                </c:pt>
                <c:pt idx="390">
                  <c:v>27623.008999999998</c:v>
                </c:pt>
                <c:pt idx="391">
                  <c:v>27617.977000000021</c:v>
                </c:pt>
                <c:pt idx="392">
                  <c:v>27593.760999999999</c:v>
                </c:pt>
                <c:pt idx="393">
                  <c:v>27588.287000000022</c:v>
                </c:pt>
                <c:pt idx="394">
                  <c:v>27586.694</c:v>
                </c:pt>
                <c:pt idx="395">
                  <c:v>27572.181999999997</c:v>
                </c:pt>
                <c:pt idx="396">
                  <c:v>27564.367000000009</c:v>
                </c:pt>
                <c:pt idx="397">
                  <c:v>27534.938999999998</c:v>
                </c:pt>
                <c:pt idx="398">
                  <c:v>27529.752999999997</c:v>
                </c:pt>
                <c:pt idx="399">
                  <c:v>27519.058999999997</c:v>
                </c:pt>
                <c:pt idx="400">
                  <c:v>27495.109999999982</c:v>
                </c:pt>
                <c:pt idx="401">
                  <c:v>27482.439329999979</c:v>
                </c:pt>
                <c:pt idx="402">
                  <c:v>27463.901000000005</c:v>
                </c:pt>
                <c:pt idx="403">
                  <c:v>27430.280999999999</c:v>
                </c:pt>
                <c:pt idx="404">
                  <c:v>27421.678999999996</c:v>
                </c:pt>
                <c:pt idx="405">
                  <c:v>27417.509000000002</c:v>
                </c:pt>
                <c:pt idx="406">
                  <c:v>27400.085999999999</c:v>
                </c:pt>
                <c:pt idx="407">
                  <c:v>27394.77</c:v>
                </c:pt>
                <c:pt idx="408">
                  <c:v>27383.516000000003</c:v>
                </c:pt>
                <c:pt idx="409">
                  <c:v>27374.11399999998</c:v>
                </c:pt>
                <c:pt idx="410">
                  <c:v>27334.210999999996</c:v>
                </c:pt>
                <c:pt idx="411">
                  <c:v>27333.950390000005</c:v>
                </c:pt>
                <c:pt idx="412">
                  <c:v>27319.404999999999</c:v>
                </c:pt>
                <c:pt idx="413">
                  <c:v>27282.593999999997</c:v>
                </c:pt>
                <c:pt idx="414">
                  <c:v>27260.633000000002</c:v>
                </c:pt>
                <c:pt idx="415">
                  <c:v>27258.656999999996</c:v>
                </c:pt>
                <c:pt idx="416">
                  <c:v>27189.278000000009</c:v>
                </c:pt>
                <c:pt idx="417">
                  <c:v>27180.705999999998</c:v>
                </c:pt>
                <c:pt idx="418">
                  <c:v>27170.807000000001</c:v>
                </c:pt>
                <c:pt idx="419">
                  <c:v>27160.424999999999</c:v>
                </c:pt>
                <c:pt idx="420">
                  <c:v>27108.141</c:v>
                </c:pt>
                <c:pt idx="421">
                  <c:v>27102.539669999958</c:v>
                </c:pt>
                <c:pt idx="422">
                  <c:v>27028.508999999995</c:v>
                </c:pt>
                <c:pt idx="423">
                  <c:v>27027.457999999999</c:v>
                </c:pt>
                <c:pt idx="424">
                  <c:v>27012.769</c:v>
                </c:pt>
                <c:pt idx="425">
                  <c:v>27011.474999999999</c:v>
                </c:pt>
                <c:pt idx="426">
                  <c:v>26995.16</c:v>
                </c:pt>
                <c:pt idx="427">
                  <c:v>26983.366000000005</c:v>
                </c:pt>
                <c:pt idx="428">
                  <c:v>26960.348669999996</c:v>
                </c:pt>
                <c:pt idx="429">
                  <c:v>26944.634000000002</c:v>
                </c:pt>
                <c:pt idx="430">
                  <c:v>26941.426000000021</c:v>
                </c:pt>
                <c:pt idx="431">
                  <c:v>26935.255000000001</c:v>
                </c:pt>
                <c:pt idx="432">
                  <c:v>26933.897000000001</c:v>
                </c:pt>
                <c:pt idx="433">
                  <c:v>26929.222000000005</c:v>
                </c:pt>
                <c:pt idx="434">
                  <c:v>26912.562000000005</c:v>
                </c:pt>
                <c:pt idx="435">
                  <c:v>26904.455000000005</c:v>
                </c:pt>
                <c:pt idx="436">
                  <c:v>26889.298999999999</c:v>
                </c:pt>
                <c:pt idx="437">
                  <c:v>26881.018999999997</c:v>
                </c:pt>
                <c:pt idx="438">
                  <c:v>26851.176169999992</c:v>
                </c:pt>
                <c:pt idx="439">
                  <c:v>26849.273000000001</c:v>
                </c:pt>
                <c:pt idx="440">
                  <c:v>26844.424999999999</c:v>
                </c:pt>
                <c:pt idx="441">
                  <c:v>26840.438999999998</c:v>
                </c:pt>
                <c:pt idx="442">
                  <c:v>26837.695</c:v>
                </c:pt>
                <c:pt idx="443">
                  <c:v>26813.166000000001</c:v>
                </c:pt>
                <c:pt idx="444">
                  <c:v>26806.203999999998</c:v>
                </c:pt>
                <c:pt idx="445">
                  <c:v>26798.578999999998</c:v>
                </c:pt>
                <c:pt idx="446">
                  <c:v>26797.941000000021</c:v>
                </c:pt>
                <c:pt idx="447">
                  <c:v>26797.233000000004</c:v>
                </c:pt>
                <c:pt idx="448">
                  <c:v>26774.148999999998</c:v>
                </c:pt>
                <c:pt idx="449">
                  <c:v>26754.184000000001</c:v>
                </c:pt>
                <c:pt idx="450">
                  <c:v>26744.512999999992</c:v>
                </c:pt>
                <c:pt idx="451">
                  <c:v>26737.449000000001</c:v>
                </c:pt>
                <c:pt idx="452">
                  <c:v>26731.712000000003</c:v>
                </c:pt>
                <c:pt idx="453">
                  <c:v>26730.682999999997</c:v>
                </c:pt>
                <c:pt idx="454">
                  <c:v>26723.434999999998</c:v>
                </c:pt>
                <c:pt idx="455">
                  <c:v>26689.101000000002</c:v>
                </c:pt>
                <c:pt idx="456">
                  <c:v>26686.482000000018</c:v>
                </c:pt>
                <c:pt idx="457">
                  <c:v>26680.696555000002</c:v>
                </c:pt>
                <c:pt idx="458">
                  <c:v>26662.450000000004</c:v>
                </c:pt>
                <c:pt idx="459">
                  <c:v>26658.156000000003</c:v>
                </c:pt>
                <c:pt idx="460">
                  <c:v>26628.225000000009</c:v>
                </c:pt>
                <c:pt idx="461">
                  <c:v>26623.165999999997</c:v>
                </c:pt>
                <c:pt idx="462">
                  <c:v>26607.820000000003</c:v>
                </c:pt>
                <c:pt idx="463">
                  <c:v>26598.233</c:v>
                </c:pt>
                <c:pt idx="464">
                  <c:v>26583.713999999996</c:v>
                </c:pt>
                <c:pt idx="465">
                  <c:v>26487.154999999992</c:v>
                </c:pt>
                <c:pt idx="466">
                  <c:v>26485.351999999992</c:v>
                </c:pt>
                <c:pt idx="467">
                  <c:v>26477.191999999992</c:v>
                </c:pt>
                <c:pt idx="468">
                  <c:v>26419.399999999972</c:v>
                </c:pt>
                <c:pt idx="469">
                  <c:v>26412.165000000001</c:v>
                </c:pt>
                <c:pt idx="470">
                  <c:v>26411.538</c:v>
                </c:pt>
                <c:pt idx="471">
                  <c:v>26409.269</c:v>
                </c:pt>
                <c:pt idx="472">
                  <c:v>26406.662</c:v>
                </c:pt>
                <c:pt idx="473">
                  <c:v>26394.030000000002</c:v>
                </c:pt>
                <c:pt idx="474">
                  <c:v>26371.013000000003</c:v>
                </c:pt>
                <c:pt idx="475">
                  <c:v>26361.328999999998</c:v>
                </c:pt>
                <c:pt idx="476">
                  <c:v>26342.265000000021</c:v>
                </c:pt>
                <c:pt idx="477">
                  <c:v>26342.164000000001</c:v>
                </c:pt>
                <c:pt idx="478">
                  <c:v>26336.814000000002</c:v>
                </c:pt>
                <c:pt idx="479">
                  <c:v>26330.134999999977</c:v>
                </c:pt>
                <c:pt idx="480">
                  <c:v>26314.150999999976</c:v>
                </c:pt>
                <c:pt idx="481">
                  <c:v>26303.229111000004</c:v>
                </c:pt>
                <c:pt idx="482">
                  <c:v>26293.408000000021</c:v>
                </c:pt>
                <c:pt idx="483">
                  <c:v>26243.397999999997</c:v>
                </c:pt>
                <c:pt idx="484">
                  <c:v>26232.486000000026</c:v>
                </c:pt>
                <c:pt idx="485">
                  <c:v>26223.889000000003</c:v>
                </c:pt>
                <c:pt idx="486">
                  <c:v>26217.821</c:v>
                </c:pt>
                <c:pt idx="487">
                  <c:v>26186.870999999996</c:v>
                </c:pt>
                <c:pt idx="488">
                  <c:v>26161.417999999998</c:v>
                </c:pt>
                <c:pt idx="489">
                  <c:v>26158.984000000022</c:v>
                </c:pt>
                <c:pt idx="490">
                  <c:v>26145.344000000005</c:v>
                </c:pt>
                <c:pt idx="491">
                  <c:v>26104.582999999999</c:v>
                </c:pt>
                <c:pt idx="492">
                  <c:v>26102.688999999998</c:v>
                </c:pt>
                <c:pt idx="493">
                  <c:v>26089.231</c:v>
                </c:pt>
                <c:pt idx="494">
                  <c:v>26058.213</c:v>
                </c:pt>
                <c:pt idx="495">
                  <c:v>26058.167999999998</c:v>
                </c:pt>
                <c:pt idx="496">
                  <c:v>26031.311000000002</c:v>
                </c:pt>
                <c:pt idx="497">
                  <c:v>26012.446000000022</c:v>
                </c:pt>
                <c:pt idx="498">
                  <c:v>26010.791000000001</c:v>
                </c:pt>
                <c:pt idx="499">
                  <c:v>26005.263000000021</c:v>
                </c:pt>
                <c:pt idx="500">
                  <c:v>26000.843000000001</c:v>
                </c:pt>
                <c:pt idx="501">
                  <c:v>25995.227000000021</c:v>
                </c:pt>
                <c:pt idx="502">
                  <c:v>25987.822</c:v>
                </c:pt>
                <c:pt idx="503">
                  <c:v>25946.544000000005</c:v>
                </c:pt>
                <c:pt idx="504">
                  <c:v>25931.073999999997</c:v>
                </c:pt>
                <c:pt idx="505">
                  <c:v>25929.826000000001</c:v>
                </c:pt>
                <c:pt idx="506">
                  <c:v>25918.955999999998</c:v>
                </c:pt>
                <c:pt idx="507">
                  <c:v>25908.284000000021</c:v>
                </c:pt>
                <c:pt idx="508">
                  <c:v>25906.969000000001</c:v>
                </c:pt>
                <c:pt idx="509">
                  <c:v>25904.053999999996</c:v>
                </c:pt>
                <c:pt idx="510">
                  <c:v>25884.609999999979</c:v>
                </c:pt>
                <c:pt idx="511">
                  <c:v>25881.920999999998</c:v>
                </c:pt>
                <c:pt idx="512">
                  <c:v>25875.894000000004</c:v>
                </c:pt>
                <c:pt idx="513">
                  <c:v>25874.324000000004</c:v>
                </c:pt>
                <c:pt idx="514">
                  <c:v>25870.949000000001</c:v>
                </c:pt>
                <c:pt idx="515">
                  <c:v>25867.831332999976</c:v>
                </c:pt>
                <c:pt idx="516">
                  <c:v>25813.047999999999</c:v>
                </c:pt>
                <c:pt idx="517">
                  <c:v>25789.488000000027</c:v>
                </c:pt>
                <c:pt idx="518">
                  <c:v>25783.965000000026</c:v>
                </c:pt>
                <c:pt idx="519">
                  <c:v>25781.595000000001</c:v>
                </c:pt>
                <c:pt idx="520">
                  <c:v>25781.391</c:v>
                </c:pt>
                <c:pt idx="521">
                  <c:v>25754.260999999999</c:v>
                </c:pt>
                <c:pt idx="522">
                  <c:v>25743.186000000005</c:v>
                </c:pt>
                <c:pt idx="523">
                  <c:v>25726.187000000005</c:v>
                </c:pt>
                <c:pt idx="524">
                  <c:v>25712.878000000001</c:v>
                </c:pt>
                <c:pt idx="525">
                  <c:v>25703.949000000001</c:v>
                </c:pt>
                <c:pt idx="526">
                  <c:v>25697.812000000002</c:v>
                </c:pt>
                <c:pt idx="527">
                  <c:v>25695.414999999997</c:v>
                </c:pt>
                <c:pt idx="528">
                  <c:v>25695.367999999999</c:v>
                </c:pt>
                <c:pt idx="529">
                  <c:v>25675.854000000003</c:v>
                </c:pt>
                <c:pt idx="530">
                  <c:v>25665.761999999999</c:v>
                </c:pt>
                <c:pt idx="531">
                  <c:v>25663.945000000018</c:v>
                </c:pt>
                <c:pt idx="532">
                  <c:v>25645.528000000009</c:v>
                </c:pt>
                <c:pt idx="533">
                  <c:v>25624.658999999996</c:v>
                </c:pt>
                <c:pt idx="534">
                  <c:v>25603.87</c:v>
                </c:pt>
                <c:pt idx="535">
                  <c:v>25570.75</c:v>
                </c:pt>
                <c:pt idx="536">
                  <c:v>25556.868999999999</c:v>
                </c:pt>
                <c:pt idx="537">
                  <c:v>25536.223000000005</c:v>
                </c:pt>
                <c:pt idx="538">
                  <c:v>25519.132999999976</c:v>
                </c:pt>
                <c:pt idx="539">
                  <c:v>25478.201000000001</c:v>
                </c:pt>
                <c:pt idx="540">
                  <c:v>25462.468000000026</c:v>
                </c:pt>
                <c:pt idx="541">
                  <c:v>25453.559999999972</c:v>
                </c:pt>
                <c:pt idx="542">
                  <c:v>25444.648999999998</c:v>
                </c:pt>
                <c:pt idx="543">
                  <c:v>25444.639999999959</c:v>
                </c:pt>
                <c:pt idx="544">
                  <c:v>25444.511000000002</c:v>
                </c:pt>
                <c:pt idx="545">
                  <c:v>25426.896000000001</c:v>
                </c:pt>
                <c:pt idx="546">
                  <c:v>25419.32</c:v>
                </c:pt>
                <c:pt idx="547">
                  <c:v>25407.706000000009</c:v>
                </c:pt>
                <c:pt idx="548">
                  <c:v>25387.216</c:v>
                </c:pt>
                <c:pt idx="549">
                  <c:v>25373.887999999999</c:v>
                </c:pt>
                <c:pt idx="550">
                  <c:v>25349.530000000002</c:v>
                </c:pt>
                <c:pt idx="551">
                  <c:v>25325.18</c:v>
                </c:pt>
                <c:pt idx="552">
                  <c:v>25317.988000000023</c:v>
                </c:pt>
                <c:pt idx="553">
                  <c:v>25272.537</c:v>
                </c:pt>
                <c:pt idx="554">
                  <c:v>25253.891999999996</c:v>
                </c:pt>
                <c:pt idx="555">
                  <c:v>25253.172999999992</c:v>
                </c:pt>
                <c:pt idx="556">
                  <c:v>25212.379999999972</c:v>
                </c:pt>
                <c:pt idx="557">
                  <c:v>25209.229999999996</c:v>
                </c:pt>
                <c:pt idx="558">
                  <c:v>25207.201999999997</c:v>
                </c:pt>
                <c:pt idx="559">
                  <c:v>25205.468000000023</c:v>
                </c:pt>
                <c:pt idx="560">
                  <c:v>25152.199999999972</c:v>
                </c:pt>
                <c:pt idx="561">
                  <c:v>25138.82999999998</c:v>
                </c:pt>
                <c:pt idx="562">
                  <c:v>25133.467000000022</c:v>
                </c:pt>
                <c:pt idx="563">
                  <c:v>25099.290999999997</c:v>
                </c:pt>
                <c:pt idx="564">
                  <c:v>25029.11399999998</c:v>
                </c:pt>
                <c:pt idx="565">
                  <c:v>25023.990999999998</c:v>
                </c:pt>
                <c:pt idx="566">
                  <c:v>25011.434000000001</c:v>
                </c:pt>
                <c:pt idx="567">
                  <c:v>25008.873</c:v>
                </c:pt>
                <c:pt idx="568">
                  <c:v>25005.055</c:v>
                </c:pt>
                <c:pt idx="569">
                  <c:v>24995.812999999976</c:v>
                </c:pt>
                <c:pt idx="570">
                  <c:v>24983.678999999996</c:v>
                </c:pt>
                <c:pt idx="571">
                  <c:v>24974.014000000003</c:v>
                </c:pt>
                <c:pt idx="572">
                  <c:v>24963.538999999997</c:v>
                </c:pt>
                <c:pt idx="573">
                  <c:v>24932.101000000002</c:v>
                </c:pt>
                <c:pt idx="574">
                  <c:v>24911.272000000001</c:v>
                </c:pt>
                <c:pt idx="575">
                  <c:v>24905.267000000022</c:v>
                </c:pt>
                <c:pt idx="576">
                  <c:v>24890.789000000001</c:v>
                </c:pt>
                <c:pt idx="577">
                  <c:v>24888.071</c:v>
                </c:pt>
                <c:pt idx="578">
                  <c:v>24881.128999999997</c:v>
                </c:pt>
                <c:pt idx="579">
                  <c:v>24868.614999999976</c:v>
                </c:pt>
                <c:pt idx="580">
                  <c:v>24859.798000000021</c:v>
                </c:pt>
                <c:pt idx="581">
                  <c:v>24842.429333</c:v>
                </c:pt>
                <c:pt idx="582">
                  <c:v>24830.673999999992</c:v>
                </c:pt>
                <c:pt idx="583">
                  <c:v>24827.358999999997</c:v>
                </c:pt>
                <c:pt idx="584">
                  <c:v>24820.513000000003</c:v>
                </c:pt>
                <c:pt idx="585">
                  <c:v>24813.286000000022</c:v>
                </c:pt>
                <c:pt idx="586">
                  <c:v>24785.781999999999</c:v>
                </c:pt>
                <c:pt idx="587">
                  <c:v>24774.589000000004</c:v>
                </c:pt>
                <c:pt idx="588">
                  <c:v>24757.716</c:v>
                </c:pt>
                <c:pt idx="589">
                  <c:v>24713.946000000022</c:v>
                </c:pt>
                <c:pt idx="590">
                  <c:v>24709.582999999999</c:v>
                </c:pt>
                <c:pt idx="591">
                  <c:v>24666.648999999998</c:v>
                </c:pt>
                <c:pt idx="592">
                  <c:v>24648.53</c:v>
                </c:pt>
                <c:pt idx="593">
                  <c:v>24638.74</c:v>
                </c:pt>
                <c:pt idx="594">
                  <c:v>24621.51</c:v>
                </c:pt>
                <c:pt idx="595">
                  <c:v>24618.411000000004</c:v>
                </c:pt>
                <c:pt idx="596">
                  <c:v>24601.172000000002</c:v>
                </c:pt>
                <c:pt idx="597">
                  <c:v>24596.036</c:v>
                </c:pt>
                <c:pt idx="598">
                  <c:v>24583.521000000004</c:v>
                </c:pt>
                <c:pt idx="599">
                  <c:v>24572.595999999998</c:v>
                </c:pt>
                <c:pt idx="600">
                  <c:v>24552.182999999997</c:v>
                </c:pt>
                <c:pt idx="601">
                  <c:v>24550.548999999995</c:v>
                </c:pt>
                <c:pt idx="602">
                  <c:v>24547.658000000003</c:v>
                </c:pt>
                <c:pt idx="603">
                  <c:v>24530.830999999973</c:v>
                </c:pt>
                <c:pt idx="604">
                  <c:v>24529.038999999997</c:v>
                </c:pt>
                <c:pt idx="605">
                  <c:v>24514.451000000001</c:v>
                </c:pt>
                <c:pt idx="606">
                  <c:v>24510.569</c:v>
                </c:pt>
                <c:pt idx="607">
                  <c:v>24508.909000000003</c:v>
                </c:pt>
                <c:pt idx="608">
                  <c:v>24499.072</c:v>
                </c:pt>
                <c:pt idx="609">
                  <c:v>24476.557000000001</c:v>
                </c:pt>
                <c:pt idx="610">
                  <c:v>24439.096999999998</c:v>
                </c:pt>
                <c:pt idx="611">
                  <c:v>24417.948000000022</c:v>
                </c:pt>
                <c:pt idx="612">
                  <c:v>24417.660000000003</c:v>
                </c:pt>
                <c:pt idx="613">
                  <c:v>24416.108</c:v>
                </c:pt>
                <c:pt idx="614">
                  <c:v>24412.413</c:v>
                </c:pt>
                <c:pt idx="615">
                  <c:v>24402.325999999997</c:v>
                </c:pt>
                <c:pt idx="616">
                  <c:v>24399.427000000022</c:v>
                </c:pt>
                <c:pt idx="617">
                  <c:v>24391.05</c:v>
                </c:pt>
                <c:pt idx="618">
                  <c:v>24388.231</c:v>
                </c:pt>
                <c:pt idx="619">
                  <c:v>24383.858999999997</c:v>
                </c:pt>
                <c:pt idx="620">
                  <c:v>24382.236000000001</c:v>
                </c:pt>
                <c:pt idx="621">
                  <c:v>24376.21</c:v>
                </c:pt>
                <c:pt idx="622">
                  <c:v>24370.174999999996</c:v>
                </c:pt>
                <c:pt idx="623">
                  <c:v>24359.434000000001</c:v>
                </c:pt>
                <c:pt idx="624">
                  <c:v>24356.195666999971</c:v>
                </c:pt>
                <c:pt idx="625">
                  <c:v>24351.453000000001</c:v>
                </c:pt>
                <c:pt idx="626">
                  <c:v>24333.837</c:v>
                </c:pt>
                <c:pt idx="627">
                  <c:v>24331.55</c:v>
                </c:pt>
                <c:pt idx="628">
                  <c:v>24308.984000000026</c:v>
                </c:pt>
                <c:pt idx="629">
                  <c:v>24281.709000000003</c:v>
                </c:pt>
                <c:pt idx="630">
                  <c:v>24278.566999999999</c:v>
                </c:pt>
                <c:pt idx="631">
                  <c:v>24267.727999999999</c:v>
                </c:pt>
                <c:pt idx="632">
                  <c:v>24264.766000000018</c:v>
                </c:pt>
                <c:pt idx="633">
                  <c:v>24220.092000000001</c:v>
                </c:pt>
                <c:pt idx="634">
                  <c:v>24215.014999999996</c:v>
                </c:pt>
                <c:pt idx="635">
                  <c:v>24206.441000000021</c:v>
                </c:pt>
                <c:pt idx="636">
                  <c:v>24194.188999999998</c:v>
                </c:pt>
                <c:pt idx="637">
                  <c:v>24183.776000000005</c:v>
                </c:pt>
                <c:pt idx="638">
                  <c:v>24183.489999999998</c:v>
                </c:pt>
                <c:pt idx="639">
                  <c:v>24181.376</c:v>
                </c:pt>
                <c:pt idx="640">
                  <c:v>24174.759000000002</c:v>
                </c:pt>
                <c:pt idx="641">
                  <c:v>24162.809999999979</c:v>
                </c:pt>
                <c:pt idx="642">
                  <c:v>24154.468000000026</c:v>
                </c:pt>
                <c:pt idx="643">
                  <c:v>24146.629999999979</c:v>
                </c:pt>
                <c:pt idx="644">
                  <c:v>24127.518</c:v>
                </c:pt>
                <c:pt idx="645">
                  <c:v>24114.100999999977</c:v>
                </c:pt>
                <c:pt idx="646">
                  <c:v>24086.923000000021</c:v>
                </c:pt>
                <c:pt idx="647">
                  <c:v>24084.452999999998</c:v>
                </c:pt>
                <c:pt idx="648">
                  <c:v>24083.378999999997</c:v>
                </c:pt>
                <c:pt idx="649">
                  <c:v>24079.658999999996</c:v>
                </c:pt>
                <c:pt idx="650">
                  <c:v>24075.433000000001</c:v>
                </c:pt>
                <c:pt idx="651">
                  <c:v>24056.648000000001</c:v>
                </c:pt>
                <c:pt idx="652">
                  <c:v>24052.743000000009</c:v>
                </c:pt>
                <c:pt idx="653">
                  <c:v>24037.728999999999</c:v>
                </c:pt>
                <c:pt idx="654">
                  <c:v>24036.217000000001</c:v>
                </c:pt>
                <c:pt idx="655">
                  <c:v>24032.934000000001</c:v>
                </c:pt>
                <c:pt idx="656">
                  <c:v>24021.280999999999</c:v>
                </c:pt>
                <c:pt idx="657">
                  <c:v>23969.545999999998</c:v>
                </c:pt>
                <c:pt idx="658">
                  <c:v>23965.125999999997</c:v>
                </c:pt>
                <c:pt idx="659">
                  <c:v>23962.906000000021</c:v>
                </c:pt>
                <c:pt idx="660">
                  <c:v>23953</c:v>
                </c:pt>
                <c:pt idx="661">
                  <c:v>23946.592000000001</c:v>
                </c:pt>
                <c:pt idx="662">
                  <c:v>23937.741999999998</c:v>
                </c:pt>
                <c:pt idx="663">
                  <c:v>23934.669000000002</c:v>
                </c:pt>
                <c:pt idx="664">
                  <c:v>23929.382000000005</c:v>
                </c:pt>
                <c:pt idx="665">
                  <c:v>23912.930999999997</c:v>
                </c:pt>
                <c:pt idx="666">
                  <c:v>23895.286000000026</c:v>
                </c:pt>
                <c:pt idx="667">
                  <c:v>23889.280999999995</c:v>
                </c:pt>
                <c:pt idx="668">
                  <c:v>23888.629999999979</c:v>
                </c:pt>
                <c:pt idx="669">
                  <c:v>23885.974999999999</c:v>
                </c:pt>
                <c:pt idx="670">
                  <c:v>23878.766000000021</c:v>
                </c:pt>
                <c:pt idx="671">
                  <c:v>23815.21</c:v>
                </c:pt>
                <c:pt idx="672">
                  <c:v>23807.300999999996</c:v>
                </c:pt>
                <c:pt idx="673">
                  <c:v>23803.825000000001</c:v>
                </c:pt>
                <c:pt idx="674">
                  <c:v>23764.09</c:v>
                </c:pt>
                <c:pt idx="675">
                  <c:v>23760.346000000005</c:v>
                </c:pt>
                <c:pt idx="676">
                  <c:v>23701.646000000001</c:v>
                </c:pt>
                <c:pt idx="677">
                  <c:v>23698.400000000001</c:v>
                </c:pt>
                <c:pt idx="678">
                  <c:v>23694.929</c:v>
                </c:pt>
                <c:pt idx="679">
                  <c:v>23688.502999999997</c:v>
                </c:pt>
                <c:pt idx="680">
                  <c:v>23686.621999999996</c:v>
                </c:pt>
                <c:pt idx="681">
                  <c:v>23673.568000000021</c:v>
                </c:pt>
                <c:pt idx="682">
                  <c:v>23663.303999999996</c:v>
                </c:pt>
                <c:pt idx="683">
                  <c:v>23662.796999999999</c:v>
                </c:pt>
                <c:pt idx="684">
                  <c:v>23658.37</c:v>
                </c:pt>
                <c:pt idx="685">
                  <c:v>23652.470999999998</c:v>
                </c:pt>
                <c:pt idx="686">
                  <c:v>23644.524999999998</c:v>
                </c:pt>
                <c:pt idx="687">
                  <c:v>23643.045000000009</c:v>
                </c:pt>
                <c:pt idx="688">
                  <c:v>23640.587000000021</c:v>
                </c:pt>
                <c:pt idx="689">
                  <c:v>23635.441999999999</c:v>
                </c:pt>
                <c:pt idx="690">
                  <c:v>23615.075999999994</c:v>
                </c:pt>
                <c:pt idx="691">
                  <c:v>23610.050999999996</c:v>
                </c:pt>
                <c:pt idx="692">
                  <c:v>23609.475999999999</c:v>
                </c:pt>
                <c:pt idx="693">
                  <c:v>23600.918000000001</c:v>
                </c:pt>
                <c:pt idx="694">
                  <c:v>23593.336000000003</c:v>
                </c:pt>
                <c:pt idx="695">
                  <c:v>23592.474999999999</c:v>
                </c:pt>
                <c:pt idx="696">
                  <c:v>23592.014000000003</c:v>
                </c:pt>
                <c:pt idx="697">
                  <c:v>23589.606</c:v>
                </c:pt>
                <c:pt idx="698">
                  <c:v>23584.597000000005</c:v>
                </c:pt>
                <c:pt idx="699">
                  <c:v>23566.504999999997</c:v>
                </c:pt>
                <c:pt idx="700">
                  <c:v>23556.82999999998</c:v>
                </c:pt>
                <c:pt idx="701">
                  <c:v>23553.273999999998</c:v>
                </c:pt>
                <c:pt idx="702">
                  <c:v>23552.537</c:v>
                </c:pt>
                <c:pt idx="703">
                  <c:v>23550.526000000005</c:v>
                </c:pt>
                <c:pt idx="704">
                  <c:v>23533.713999999996</c:v>
                </c:pt>
                <c:pt idx="705">
                  <c:v>23522.323</c:v>
                </c:pt>
                <c:pt idx="706">
                  <c:v>23522.047999999999</c:v>
                </c:pt>
                <c:pt idx="707">
                  <c:v>23521.296999999999</c:v>
                </c:pt>
                <c:pt idx="708">
                  <c:v>23498.762000000021</c:v>
                </c:pt>
                <c:pt idx="709">
                  <c:v>23480.177999999996</c:v>
                </c:pt>
                <c:pt idx="710">
                  <c:v>23479.84</c:v>
                </c:pt>
                <c:pt idx="711">
                  <c:v>23462.350000000002</c:v>
                </c:pt>
                <c:pt idx="712">
                  <c:v>23457.621999999996</c:v>
                </c:pt>
                <c:pt idx="713">
                  <c:v>23448.702999999998</c:v>
                </c:pt>
                <c:pt idx="714">
                  <c:v>23440.318999999996</c:v>
                </c:pt>
                <c:pt idx="715">
                  <c:v>23423.268000000022</c:v>
                </c:pt>
                <c:pt idx="716">
                  <c:v>23423.067000000021</c:v>
                </c:pt>
                <c:pt idx="717">
                  <c:v>23411.5</c:v>
                </c:pt>
                <c:pt idx="718">
                  <c:v>23400.311999999976</c:v>
                </c:pt>
                <c:pt idx="719">
                  <c:v>23395.309999999979</c:v>
                </c:pt>
                <c:pt idx="720">
                  <c:v>23377.318000000003</c:v>
                </c:pt>
                <c:pt idx="721">
                  <c:v>23376.107000000004</c:v>
                </c:pt>
                <c:pt idx="722">
                  <c:v>23368.898000000001</c:v>
                </c:pt>
                <c:pt idx="723">
                  <c:v>23363.596000000001</c:v>
                </c:pt>
                <c:pt idx="724">
                  <c:v>23325.39</c:v>
                </c:pt>
                <c:pt idx="725">
                  <c:v>23320.777999999998</c:v>
                </c:pt>
                <c:pt idx="726">
                  <c:v>23316.780000000021</c:v>
                </c:pt>
                <c:pt idx="727">
                  <c:v>23287.637999999992</c:v>
                </c:pt>
                <c:pt idx="728">
                  <c:v>23265.052000000003</c:v>
                </c:pt>
                <c:pt idx="729">
                  <c:v>23264.465000000022</c:v>
                </c:pt>
                <c:pt idx="730">
                  <c:v>23259.722999999998</c:v>
                </c:pt>
                <c:pt idx="731">
                  <c:v>23253.252</c:v>
                </c:pt>
                <c:pt idx="732">
                  <c:v>23247.436000000005</c:v>
                </c:pt>
                <c:pt idx="733">
                  <c:v>23244.188000000009</c:v>
                </c:pt>
                <c:pt idx="734">
                  <c:v>23237.561000000005</c:v>
                </c:pt>
                <c:pt idx="735">
                  <c:v>23228.857999999997</c:v>
                </c:pt>
                <c:pt idx="736">
                  <c:v>23218.283000000021</c:v>
                </c:pt>
                <c:pt idx="737">
                  <c:v>23217.249</c:v>
                </c:pt>
                <c:pt idx="738">
                  <c:v>23207.665000000001</c:v>
                </c:pt>
                <c:pt idx="739">
                  <c:v>23180.550000000003</c:v>
                </c:pt>
                <c:pt idx="740">
                  <c:v>23166.007999999998</c:v>
                </c:pt>
                <c:pt idx="741">
                  <c:v>23161.648999999998</c:v>
                </c:pt>
                <c:pt idx="742">
                  <c:v>23160.105888999995</c:v>
                </c:pt>
                <c:pt idx="743">
                  <c:v>23160.031999999996</c:v>
                </c:pt>
                <c:pt idx="744">
                  <c:v>23150.313000000002</c:v>
                </c:pt>
                <c:pt idx="745">
                  <c:v>23149.186999999998</c:v>
                </c:pt>
                <c:pt idx="746">
                  <c:v>23141.162999999997</c:v>
                </c:pt>
                <c:pt idx="747">
                  <c:v>23131.435000000001</c:v>
                </c:pt>
                <c:pt idx="748">
                  <c:v>23119.276999999998</c:v>
                </c:pt>
                <c:pt idx="749">
                  <c:v>23104.773000000001</c:v>
                </c:pt>
                <c:pt idx="750">
                  <c:v>23094.222999999998</c:v>
                </c:pt>
                <c:pt idx="751">
                  <c:v>23047.868999999999</c:v>
                </c:pt>
                <c:pt idx="752">
                  <c:v>23037.775000000001</c:v>
                </c:pt>
                <c:pt idx="753">
                  <c:v>23034.537</c:v>
                </c:pt>
                <c:pt idx="754">
                  <c:v>23022.767000000022</c:v>
                </c:pt>
                <c:pt idx="755">
                  <c:v>23011.508000000005</c:v>
                </c:pt>
                <c:pt idx="756">
                  <c:v>22998.702999999998</c:v>
                </c:pt>
                <c:pt idx="757">
                  <c:v>22995.072999999997</c:v>
                </c:pt>
                <c:pt idx="758">
                  <c:v>22980.112999999979</c:v>
                </c:pt>
                <c:pt idx="759">
                  <c:v>22970.024999999998</c:v>
                </c:pt>
                <c:pt idx="760">
                  <c:v>22954.812999999976</c:v>
                </c:pt>
                <c:pt idx="761">
                  <c:v>22953.113999999976</c:v>
                </c:pt>
                <c:pt idx="762">
                  <c:v>22945.366000000005</c:v>
                </c:pt>
                <c:pt idx="763">
                  <c:v>22928.090000000004</c:v>
                </c:pt>
                <c:pt idx="764">
                  <c:v>22924.54700000002</c:v>
                </c:pt>
                <c:pt idx="765">
                  <c:v>22905.954000000005</c:v>
                </c:pt>
                <c:pt idx="766">
                  <c:v>22894.363999999998</c:v>
                </c:pt>
                <c:pt idx="767">
                  <c:v>22882.245999999999</c:v>
                </c:pt>
                <c:pt idx="768">
                  <c:v>22880.925999999999</c:v>
                </c:pt>
                <c:pt idx="769">
                  <c:v>22878.789000000004</c:v>
                </c:pt>
                <c:pt idx="770">
                  <c:v>22870.952000000005</c:v>
                </c:pt>
                <c:pt idx="771">
                  <c:v>22867.598000000005</c:v>
                </c:pt>
                <c:pt idx="772">
                  <c:v>22865.331000000002</c:v>
                </c:pt>
                <c:pt idx="773">
                  <c:v>22864.440000000021</c:v>
                </c:pt>
                <c:pt idx="774">
                  <c:v>22854.274000000001</c:v>
                </c:pt>
                <c:pt idx="775">
                  <c:v>22849.307000000001</c:v>
                </c:pt>
                <c:pt idx="776">
                  <c:v>22841.722000000005</c:v>
                </c:pt>
                <c:pt idx="777">
                  <c:v>22840.14</c:v>
                </c:pt>
                <c:pt idx="778">
                  <c:v>22836.192999999996</c:v>
                </c:pt>
                <c:pt idx="779">
                  <c:v>22835.027999999998</c:v>
                </c:pt>
                <c:pt idx="780">
                  <c:v>22822.368000000009</c:v>
                </c:pt>
                <c:pt idx="781">
                  <c:v>22816.729999999996</c:v>
                </c:pt>
                <c:pt idx="782">
                  <c:v>22816.688999999998</c:v>
                </c:pt>
                <c:pt idx="783">
                  <c:v>22786.14999999998</c:v>
                </c:pt>
                <c:pt idx="784">
                  <c:v>22776.635000000002</c:v>
                </c:pt>
                <c:pt idx="785">
                  <c:v>22774.105</c:v>
                </c:pt>
                <c:pt idx="786">
                  <c:v>22699.913</c:v>
                </c:pt>
                <c:pt idx="787">
                  <c:v>22698.462000000021</c:v>
                </c:pt>
                <c:pt idx="788">
                  <c:v>22693.065999999999</c:v>
                </c:pt>
                <c:pt idx="789">
                  <c:v>22683.858000000004</c:v>
                </c:pt>
                <c:pt idx="790">
                  <c:v>22679.915999999997</c:v>
                </c:pt>
                <c:pt idx="791">
                  <c:v>22669.34</c:v>
                </c:pt>
                <c:pt idx="792">
                  <c:v>22655.728999999999</c:v>
                </c:pt>
                <c:pt idx="793">
                  <c:v>22643.415000000001</c:v>
                </c:pt>
                <c:pt idx="794">
                  <c:v>22643.377</c:v>
                </c:pt>
                <c:pt idx="795">
                  <c:v>22636.373000000003</c:v>
                </c:pt>
                <c:pt idx="796">
                  <c:v>22626.429999999997</c:v>
                </c:pt>
                <c:pt idx="797">
                  <c:v>22609.445000000022</c:v>
                </c:pt>
                <c:pt idx="798">
                  <c:v>22604.498000000021</c:v>
                </c:pt>
                <c:pt idx="799">
                  <c:v>22589.765000000021</c:v>
                </c:pt>
                <c:pt idx="800">
                  <c:v>22583.403000000009</c:v>
                </c:pt>
                <c:pt idx="801">
                  <c:v>22554.013999999996</c:v>
                </c:pt>
                <c:pt idx="802">
                  <c:v>22546.973000000005</c:v>
                </c:pt>
                <c:pt idx="803">
                  <c:v>22535.325999999997</c:v>
                </c:pt>
                <c:pt idx="804">
                  <c:v>22525.178999999996</c:v>
                </c:pt>
                <c:pt idx="805">
                  <c:v>22505.254999999997</c:v>
                </c:pt>
                <c:pt idx="806">
                  <c:v>22493.88</c:v>
                </c:pt>
                <c:pt idx="807">
                  <c:v>22468.599000000002</c:v>
                </c:pt>
                <c:pt idx="808">
                  <c:v>22467.704000000005</c:v>
                </c:pt>
                <c:pt idx="809">
                  <c:v>22460.528999999999</c:v>
                </c:pt>
                <c:pt idx="810">
                  <c:v>22445.949000000001</c:v>
                </c:pt>
                <c:pt idx="811">
                  <c:v>22436.125</c:v>
                </c:pt>
                <c:pt idx="812">
                  <c:v>22434.180000000004</c:v>
                </c:pt>
                <c:pt idx="813">
                  <c:v>22420.588000000022</c:v>
                </c:pt>
                <c:pt idx="814">
                  <c:v>22416.046999999999</c:v>
                </c:pt>
                <c:pt idx="815">
                  <c:v>22408.813000000002</c:v>
                </c:pt>
                <c:pt idx="816">
                  <c:v>22394.702999999998</c:v>
                </c:pt>
                <c:pt idx="817">
                  <c:v>22391.777999999998</c:v>
                </c:pt>
                <c:pt idx="818">
                  <c:v>22389.362000000001</c:v>
                </c:pt>
                <c:pt idx="819">
                  <c:v>22388.6</c:v>
                </c:pt>
                <c:pt idx="820">
                  <c:v>22380.802000000003</c:v>
                </c:pt>
                <c:pt idx="821">
                  <c:v>22371.67</c:v>
                </c:pt>
                <c:pt idx="822">
                  <c:v>22367.420000000009</c:v>
                </c:pt>
                <c:pt idx="823">
                  <c:v>22356.838</c:v>
                </c:pt>
                <c:pt idx="824">
                  <c:v>22352.228000000021</c:v>
                </c:pt>
                <c:pt idx="825">
                  <c:v>22350.956000000009</c:v>
                </c:pt>
                <c:pt idx="826">
                  <c:v>22335.034000000003</c:v>
                </c:pt>
                <c:pt idx="827">
                  <c:v>22334.101999999992</c:v>
                </c:pt>
                <c:pt idx="828">
                  <c:v>22333.602999999996</c:v>
                </c:pt>
                <c:pt idx="829">
                  <c:v>22327.249000000003</c:v>
                </c:pt>
                <c:pt idx="830">
                  <c:v>22312.562000000005</c:v>
                </c:pt>
                <c:pt idx="831">
                  <c:v>22301.309999999969</c:v>
                </c:pt>
                <c:pt idx="832">
                  <c:v>22285.514999999996</c:v>
                </c:pt>
                <c:pt idx="833">
                  <c:v>22282.425999999999</c:v>
                </c:pt>
                <c:pt idx="834">
                  <c:v>22273.569</c:v>
                </c:pt>
                <c:pt idx="835">
                  <c:v>22270.895999999997</c:v>
                </c:pt>
                <c:pt idx="836">
                  <c:v>22244.396000000001</c:v>
                </c:pt>
                <c:pt idx="837">
                  <c:v>22238.050999999996</c:v>
                </c:pt>
                <c:pt idx="838">
                  <c:v>22235.083000000021</c:v>
                </c:pt>
                <c:pt idx="839">
                  <c:v>22233.466000000022</c:v>
                </c:pt>
                <c:pt idx="840">
                  <c:v>22227.893</c:v>
                </c:pt>
                <c:pt idx="841">
                  <c:v>22226.624</c:v>
                </c:pt>
                <c:pt idx="842">
                  <c:v>22219.675000000003</c:v>
                </c:pt>
                <c:pt idx="843">
                  <c:v>22219.385999999999</c:v>
                </c:pt>
                <c:pt idx="844">
                  <c:v>22219.230999999996</c:v>
                </c:pt>
                <c:pt idx="845">
                  <c:v>22201.318000000003</c:v>
                </c:pt>
                <c:pt idx="846">
                  <c:v>22193.223000000005</c:v>
                </c:pt>
                <c:pt idx="847">
                  <c:v>22192.364999999998</c:v>
                </c:pt>
                <c:pt idx="848">
                  <c:v>22190.067999999999</c:v>
                </c:pt>
                <c:pt idx="849">
                  <c:v>22178.418000000001</c:v>
                </c:pt>
                <c:pt idx="850">
                  <c:v>22160.555</c:v>
                </c:pt>
                <c:pt idx="851">
                  <c:v>22156.015000000003</c:v>
                </c:pt>
                <c:pt idx="852">
                  <c:v>22146.085999999999</c:v>
                </c:pt>
                <c:pt idx="853">
                  <c:v>22138.795000000009</c:v>
                </c:pt>
                <c:pt idx="854">
                  <c:v>22128.876999999997</c:v>
                </c:pt>
                <c:pt idx="855">
                  <c:v>22118.965000000026</c:v>
                </c:pt>
                <c:pt idx="856">
                  <c:v>22104.850999999977</c:v>
                </c:pt>
                <c:pt idx="857">
                  <c:v>22100.461000000021</c:v>
                </c:pt>
                <c:pt idx="858">
                  <c:v>22071.957999999999</c:v>
                </c:pt>
                <c:pt idx="859">
                  <c:v>22062.495999999999</c:v>
                </c:pt>
                <c:pt idx="860">
                  <c:v>22062.022999999997</c:v>
                </c:pt>
                <c:pt idx="861">
                  <c:v>22060.338945</c:v>
                </c:pt>
                <c:pt idx="862">
                  <c:v>22060.226999999999</c:v>
                </c:pt>
                <c:pt idx="863">
                  <c:v>22037.281999999999</c:v>
                </c:pt>
                <c:pt idx="864">
                  <c:v>22027.954000000005</c:v>
                </c:pt>
                <c:pt idx="865">
                  <c:v>22025.612999999979</c:v>
                </c:pt>
                <c:pt idx="866">
                  <c:v>22024.79</c:v>
                </c:pt>
                <c:pt idx="867">
                  <c:v>22022.265000000021</c:v>
                </c:pt>
                <c:pt idx="868">
                  <c:v>21992.373000000003</c:v>
                </c:pt>
                <c:pt idx="869">
                  <c:v>21980.168999999998</c:v>
                </c:pt>
                <c:pt idx="870">
                  <c:v>21973.625</c:v>
                </c:pt>
                <c:pt idx="871">
                  <c:v>21969.231000000003</c:v>
                </c:pt>
                <c:pt idx="872">
                  <c:v>21951.32</c:v>
                </c:pt>
                <c:pt idx="873">
                  <c:v>21940.905999999999</c:v>
                </c:pt>
                <c:pt idx="874">
                  <c:v>21916.925999999999</c:v>
                </c:pt>
                <c:pt idx="875">
                  <c:v>21911.518</c:v>
                </c:pt>
                <c:pt idx="876">
                  <c:v>21896.106999999996</c:v>
                </c:pt>
                <c:pt idx="877">
                  <c:v>21874.21</c:v>
                </c:pt>
                <c:pt idx="878">
                  <c:v>21868.989999999998</c:v>
                </c:pt>
                <c:pt idx="879">
                  <c:v>21862.435999999998</c:v>
                </c:pt>
                <c:pt idx="880">
                  <c:v>21857.977999999999</c:v>
                </c:pt>
                <c:pt idx="881">
                  <c:v>21850.570999999996</c:v>
                </c:pt>
                <c:pt idx="882">
                  <c:v>21845.013000000003</c:v>
                </c:pt>
                <c:pt idx="883">
                  <c:v>21840.858999999997</c:v>
                </c:pt>
                <c:pt idx="884">
                  <c:v>21840.763999999999</c:v>
                </c:pt>
                <c:pt idx="885">
                  <c:v>21833.017</c:v>
                </c:pt>
                <c:pt idx="886">
                  <c:v>21830.052000000003</c:v>
                </c:pt>
                <c:pt idx="887">
                  <c:v>21821.480000000021</c:v>
                </c:pt>
                <c:pt idx="888">
                  <c:v>21782.332000000002</c:v>
                </c:pt>
                <c:pt idx="889">
                  <c:v>21778.032999999996</c:v>
                </c:pt>
                <c:pt idx="890">
                  <c:v>21767.088000000018</c:v>
                </c:pt>
                <c:pt idx="891">
                  <c:v>21751.483000000022</c:v>
                </c:pt>
                <c:pt idx="892">
                  <c:v>21748.789999999997</c:v>
                </c:pt>
                <c:pt idx="893">
                  <c:v>21735.082000000009</c:v>
                </c:pt>
                <c:pt idx="894">
                  <c:v>21724.378999999997</c:v>
                </c:pt>
                <c:pt idx="895">
                  <c:v>21719.752</c:v>
                </c:pt>
                <c:pt idx="896">
                  <c:v>21704.822</c:v>
                </c:pt>
                <c:pt idx="897">
                  <c:v>21698.938999999998</c:v>
                </c:pt>
                <c:pt idx="898">
                  <c:v>21688.371999999996</c:v>
                </c:pt>
                <c:pt idx="899">
                  <c:v>21668.805000000004</c:v>
                </c:pt>
                <c:pt idx="900">
                  <c:v>21662.454000000005</c:v>
                </c:pt>
                <c:pt idx="901">
                  <c:v>21639.106</c:v>
                </c:pt>
                <c:pt idx="902">
                  <c:v>21635.373000000003</c:v>
                </c:pt>
                <c:pt idx="903">
                  <c:v>21634.123</c:v>
                </c:pt>
                <c:pt idx="904">
                  <c:v>21633.52</c:v>
                </c:pt>
                <c:pt idx="905">
                  <c:v>21623.625</c:v>
                </c:pt>
                <c:pt idx="906">
                  <c:v>21619.081999999999</c:v>
                </c:pt>
                <c:pt idx="907">
                  <c:v>21613.008999999998</c:v>
                </c:pt>
                <c:pt idx="908">
                  <c:v>21610.088000000022</c:v>
                </c:pt>
                <c:pt idx="909">
                  <c:v>21604.392</c:v>
                </c:pt>
                <c:pt idx="910">
                  <c:v>21597.361000000001</c:v>
                </c:pt>
                <c:pt idx="911">
                  <c:v>21588.536</c:v>
                </c:pt>
                <c:pt idx="912">
                  <c:v>21575.366000000005</c:v>
                </c:pt>
                <c:pt idx="913">
                  <c:v>21574.018</c:v>
                </c:pt>
                <c:pt idx="914">
                  <c:v>21573.960999999999</c:v>
                </c:pt>
                <c:pt idx="915">
                  <c:v>21565.328999999998</c:v>
                </c:pt>
                <c:pt idx="916">
                  <c:v>21551.789000000001</c:v>
                </c:pt>
                <c:pt idx="917">
                  <c:v>21548.698000000004</c:v>
                </c:pt>
                <c:pt idx="918">
                  <c:v>21540.955000000005</c:v>
                </c:pt>
                <c:pt idx="919">
                  <c:v>21535.684000000001</c:v>
                </c:pt>
                <c:pt idx="920">
                  <c:v>21535.267000000022</c:v>
                </c:pt>
                <c:pt idx="921">
                  <c:v>21533.09</c:v>
                </c:pt>
                <c:pt idx="922">
                  <c:v>21523.513999999996</c:v>
                </c:pt>
                <c:pt idx="923">
                  <c:v>21521.362000000001</c:v>
                </c:pt>
                <c:pt idx="924">
                  <c:v>21519.623999999996</c:v>
                </c:pt>
                <c:pt idx="925">
                  <c:v>21514.253000000001</c:v>
                </c:pt>
                <c:pt idx="926">
                  <c:v>21507.640000000003</c:v>
                </c:pt>
                <c:pt idx="927">
                  <c:v>21499.207999999999</c:v>
                </c:pt>
                <c:pt idx="928">
                  <c:v>21483.746000000021</c:v>
                </c:pt>
                <c:pt idx="929">
                  <c:v>21481.589999999997</c:v>
                </c:pt>
                <c:pt idx="930">
                  <c:v>21465.063999999998</c:v>
                </c:pt>
                <c:pt idx="931">
                  <c:v>21444.021000000001</c:v>
                </c:pt>
                <c:pt idx="932">
                  <c:v>21436.216999999997</c:v>
                </c:pt>
                <c:pt idx="933">
                  <c:v>21436.079000000002</c:v>
                </c:pt>
                <c:pt idx="934">
                  <c:v>21436.052</c:v>
                </c:pt>
                <c:pt idx="935">
                  <c:v>21419.223000000005</c:v>
                </c:pt>
                <c:pt idx="936">
                  <c:v>21412.523999999998</c:v>
                </c:pt>
                <c:pt idx="937">
                  <c:v>21404.923000000021</c:v>
                </c:pt>
                <c:pt idx="938">
                  <c:v>21402.112999999979</c:v>
                </c:pt>
                <c:pt idx="939">
                  <c:v>21393.331999999977</c:v>
                </c:pt>
                <c:pt idx="940">
                  <c:v>21391.754999999997</c:v>
                </c:pt>
                <c:pt idx="941">
                  <c:v>21378.866999999998</c:v>
                </c:pt>
                <c:pt idx="942">
                  <c:v>21375.198</c:v>
                </c:pt>
                <c:pt idx="943">
                  <c:v>21374.113999999976</c:v>
                </c:pt>
                <c:pt idx="944">
                  <c:v>21351.144</c:v>
                </c:pt>
                <c:pt idx="945">
                  <c:v>21341.592999999997</c:v>
                </c:pt>
                <c:pt idx="946">
                  <c:v>21337.444000000021</c:v>
                </c:pt>
                <c:pt idx="947">
                  <c:v>21310.563999999998</c:v>
                </c:pt>
                <c:pt idx="948">
                  <c:v>21309.908000000021</c:v>
                </c:pt>
                <c:pt idx="949">
                  <c:v>21297.879999999972</c:v>
                </c:pt>
                <c:pt idx="950">
                  <c:v>21276.592000000001</c:v>
                </c:pt>
                <c:pt idx="951">
                  <c:v>21275.057000000001</c:v>
                </c:pt>
                <c:pt idx="952">
                  <c:v>21259.794000000005</c:v>
                </c:pt>
                <c:pt idx="953">
                  <c:v>21250.142999999996</c:v>
                </c:pt>
                <c:pt idx="954">
                  <c:v>21244.23</c:v>
                </c:pt>
                <c:pt idx="955">
                  <c:v>21242.421999999999</c:v>
                </c:pt>
                <c:pt idx="956">
                  <c:v>21209.492999999999</c:v>
                </c:pt>
                <c:pt idx="957">
                  <c:v>21203.949000000001</c:v>
                </c:pt>
                <c:pt idx="958">
                  <c:v>21194.983000000026</c:v>
                </c:pt>
                <c:pt idx="959">
                  <c:v>21191.572</c:v>
                </c:pt>
                <c:pt idx="960">
                  <c:v>21156.262999999999</c:v>
                </c:pt>
                <c:pt idx="961">
                  <c:v>21153.615999999976</c:v>
                </c:pt>
                <c:pt idx="962">
                  <c:v>21147.415000000001</c:v>
                </c:pt>
                <c:pt idx="963">
                  <c:v>21145.495999999999</c:v>
                </c:pt>
                <c:pt idx="964">
                  <c:v>21107.809999999972</c:v>
                </c:pt>
                <c:pt idx="965">
                  <c:v>21107.431</c:v>
                </c:pt>
                <c:pt idx="966">
                  <c:v>21083.644</c:v>
                </c:pt>
                <c:pt idx="967">
                  <c:v>21072.917000000001</c:v>
                </c:pt>
                <c:pt idx="968">
                  <c:v>21067.099000000002</c:v>
                </c:pt>
                <c:pt idx="969">
                  <c:v>21023.569000000003</c:v>
                </c:pt>
                <c:pt idx="970">
                  <c:v>21011.99</c:v>
                </c:pt>
                <c:pt idx="971">
                  <c:v>21009.792999999998</c:v>
                </c:pt>
                <c:pt idx="972">
                  <c:v>20997.263999999999</c:v>
                </c:pt>
                <c:pt idx="973">
                  <c:v>20988.143</c:v>
                </c:pt>
                <c:pt idx="974">
                  <c:v>20974.951000000001</c:v>
                </c:pt>
                <c:pt idx="975">
                  <c:v>20968.200999999997</c:v>
                </c:pt>
                <c:pt idx="976">
                  <c:v>20950.847000000005</c:v>
                </c:pt>
                <c:pt idx="977">
                  <c:v>20942.527999999998</c:v>
                </c:pt>
                <c:pt idx="978">
                  <c:v>20935.127</c:v>
                </c:pt>
                <c:pt idx="979">
                  <c:v>20918.613999999976</c:v>
                </c:pt>
                <c:pt idx="980">
                  <c:v>20893.898999999998</c:v>
                </c:pt>
                <c:pt idx="981">
                  <c:v>20879.474999999999</c:v>
                </c:pt>
                <c:pt idx="982">
                  <c:v>20879.017000000003</c:v>
                </c:pt>
                <c:pt idx="983">
                  <c:v>20878.674999999996</c:v>
                </c:pt>
                <c:pt idx="984">
                  <c:v>20852.147000000001</c:v>
                </c:pt>
                <c:pt idx="985">
                  <c:v>20842.278889000027</c:v>
                </c:pt>
                <c:pt idx="986">
                  <c:v>20839.406999999999</c:v>
                </c:pt>
                <c:pt idx="987">
                  <c:v>20834.742999999999</c:v>
                </c:pt>
                <c:pt idx="988">
                  <c:v>20804.553999999996</c:v>
                </c:pt>
                <c:pt idx="989">
                  <c:v>20804.332999999977</c:v>
                </c:pt>
                <c:pt idx="990">
                  <c:v>20795.595999999998</c:v>
                </c:pt>
                <c:pt idx="991">
                  <c:v>20794.335889000005</c:v>
                </c:pt>
                <c:pt idx="992">
                  <c:v>20783.067999999999</c:v>
                </c:pt>
                <c:pt idx="993">
                  <c:v>20778.654000000002</c:v>
                </c:pt>
                <c:pt idx="994">
                  <c:v>20776.168000000001</c:v>
                </c:pt>
                <c:pt idx="995">
                  <c:v>20755.867000000009</c:v>
                </c:pt>
                <c:pt idx="996">
                  <c:v>20751.328999999998</c:v>
                </c:pt>
                <c:pt idx="997">
                  <c:v>20743.947000000022</c:v>
                </c:pt>
                <c:pt idx="998">
                  <c:v>20714.356</c:v>
                </c:pt>
                <c:pt idx="999">
                  <c:v>20712.57</c:v>
                </c:pt>
                <c:pt idx="1000">
                  <c:v>20712.492999999999</c:v>
                </c:pt>
                <c:pt idx="1001">
                  <c:v>20704.945000000022</c:v>
                </c:pt>
                <c:pt idx="1002">
                  <c:v>20675.841</c:v>
                </c:pt>
                <c:pt idx="1003">
                  <c:v>20674.460999999999</c:v>
                </c:pt>
                <c:pt idx="1004">
                  <c:v>20657.476999999999</c:v>
                </c:pt>
                <c:pt idx="1005">
                  <c:v>20644.224000000009</c:v>
                </c:pt>
                <c:pt idx="1006">
                  <c:v>20621.811999999976</c:v>
                </c:pt>
                <c:pt idx="1007">
                  <c:v>20619.419000000002</c:v>
                </c:pt>
                <c:pt idx="1008">
                  <c:v>20619.330000000002</c:v>
                </c:pt>
                <c:pt idx="1009">
                  <c:v>20614.412999999997</c:v>
                </c:pt>
                <c:pt idx="1010">
                  <c:v>20596.691999999992</c:v>
                </c:pt>
                <c:pt idx="1011">
                  <c:v>20562.413999999997</c:v>
                </c:pt>
                <c:pt idx="1012">
                  <c:v>20560.329999999976</c:v>
                </c:pt>
                <c:pt idx="1013">
                  <c:v>20553.137999999992</c:v>
                </c:pt>
                <c:pt idx="1014">
                  <c:v>20548.001999999997</c:v>
                </c:pt>
                <c:pt idx="1015">
                  <c:v>20529.331999999977</c:v>
                </c:pt>
                <c:pt idx="1016">
                  <c:v>20521.874999999996</c:v>
                </c:pt>
                <c:pt idx="1017">
                  <c:v>20517.181</c:v>
                </c:pt>
                <c:pt idx="1018">
                  <c:v>20514.999000000003</c:v>
                </c:pt>
                <c:pt idx="1019">
                  <c:v>20514.428000000022</c:v>
                </c:pt>
                <c:pt idx="1020">
                  <c:v>20509.304</c:v>
                </c:pt>
                <c:pt idx="1021">
                  <c:v>20500.528000000009</c:v>
                </c:pt>
                <c:pt idx="1022">
                  <c:v>20497.668000000001</c:v>
                </c:pt>
                <c:pt idx="1023">
                  <c:v>20490.396999999997</c:v>
                </c:pt>
                <c:pt idx="1024">
                  <c:v>20486.376</c:v>
                </c:pt>
                <c:pt idx="1025">
                  <c:v>20471.867999999999</c:v>
                </c:pt>
                <c:pt idx="1026">
                  <c:v>20466.457000000009</c:v>
                </c:pt>
                <c:pt idx="1027">
                  <c:v>20465.244000000021</c:v>
                </c:pt>
                <c:pt idx="1028">
                  <c:v>20450.841</c:v>
                </c:pt>
                <c:pt idx="1029">
                  <c:v>20434.251</c:v>
                </c:pt>
                <c:pt idx="1030">
                  <c:v>20417.311000000002</c:v>
                </c:pt>
                <c:pt idx="1031">
                  <c:v>20412.087000000021</c:v>
                </c:pt>
                <c:pt idx="1032">
                  <c:v>20406.562000000005</c:v>
                </c:pt>
                <c:pt idx="1033">
                  <c:v>20400.282000000021</c:v>
                </c:pt>
                <c:pt idx="1034">
                  <c:v>20394.12</c:v>
                </c:pt>
                <c:pt idx="1035">
                  <c:v>20391.266000000021</c:v>
                </c:pt>
                <c:pt idx="1036">
                  <c:v>20389.734</c:v>
                </c:pt>
                <c:pt idx="1037">
                  <c:v>20371.990999999998</c:v>
                </c:pt>
                <c:pt idx="1038">
                  <c:v>20370.224999999999</c:v>
                </c:pt>
                <c:pt idx="1039">
                  <c:v>20348.110999999979</c:v>
                </c:pt>
                <c:pt idx="1040">
                  <c:v>20336.415999999997</c:v>
                </c:pt>
                <c:pt idx="1041">
                  <c:v>20310.134999999977</c:v>
                </c:pt>
                <c:pt idx="1042">
                  <c:v>20301.560000000001</c:v>
                </c:pt>
                <c:pt idx="1043">
                  <c:v>20290.748000000021</c:v>
                </c:pt>
                <c:pt idx="1044">
                  <c:v>20289.417000000001</c:v>
                </c:pt>
                <c:pt idx="1045">
                  <c:v>20280.995999999999</c:v>
                </c:pt>
                <c:pt idx="1046">
                  <c:v>20272.695</c:v>
                </c:pt>
                <c:pt idx="1047">
                  <c:v>20271.296999999999</c:v>
                </c:pt>
                <c:pt idx="1048">
                  <c:v>20251.789000000004</c:v>
                </c:pt>
                <c:pt idx="1049">
                  <c:v>20235.077000000001</c:v>
                </c:pt>
                <c:pt idx="1050">
                  <c:v>20233.446000000025</c:v>
                </c:pt>
                <c:pt idx="1051">
                  <c:v>20228.624</c:v>
                </c:pt>
                <c:pt idx="1052">
                  <c:v>20193.497500000001</c:v>
                </c:pt>
                <c:pt idx="1053">
                  <c:v>20189.16</c:v>
                </c:pt>
                <c:pt idx="1054">
                  <c:v>20177.218999999997</c:v>
                </c:pt>
                <c:pt idx="1055">
                  <c:v>20153.460999999999</c:v>
                </c:pt>
                <c:pt idx="1056">
                  <c:v>20140.684999999998</c:v>
                </c:pt>
                <c:pt idx="1057">
                  <c:v>20132.125999999997</c:v>
                </c:pt>
                <c:pt idx="1058">
                  <c:v>20132.065000000021</c:v>
                </c:pt>
                <c:pt idx="1059">
                  <c:v>20116.606</c:v>
                </c:pt>
                <c:pt idx="1060">
                  <c:v>20115.106</c:v>
                </c:pt>
                <c:pt idx="1061">
                  <c:v>20109.325000000001</c:v>
                </c:pt>
                <c:pt idx="1062">
                  <c:v>20087.555</c:v>
                </c:pt>
                <c:pt idx="1063">
                  <c:v>20086.609999999979</c:v>
                </c:pt>
                <c:pt idx="1064">
                  <c:v>20083.617999999977</c:v>
                </c:pt>
                <c:pt idx="1065">
                  <c:v>20072.817000000003</c:v>
                </c:pt>
                <c:pt idx="1066">
                  <c:v>20065.273611000001</c:v>
                </c:pt>
                <c:pt idx="1067">
                  <c:v>20062.690000000002</c:v>
                </c:pt>
                <c:pt idx="1068">
                  <c:v>20051.877</c:v>
                </c:pt>
                <c:pt idx="1069">
                  <c:v>20048.368000000009</c:v>
                </c:pt>
                <c:pt idx="1070">
                  <c:v>20047.025999999998</c:v>
                </c:pt>
                <c:pt idx="1071">
                  <c:v>20036.236999999997</c:v>
                </c:pt>
                <c:pt idx="1072">
                  <c:v>20021.736000000004</c:v>
                </c:pt>
                <c:pt idx="1073">
                  <c:v>20000.37</c:v>
                </c:pt>
                <c:pt idx="1074">
                  <c:v>19999.849999999977</c:v>
                </c:pt>
                <c:pt idx="1075">
                  <c:v>19997.13199999998</c:v>
                </c:pt>
                <c:pt idx="1076">
                  <c:v>19990.973000000005</c:v>
                </c:pt>
                <c:pt idx="1077">
                  <c:v>19988.694</c:v>
                </c:pt>
                <c:pt idx="1078">
                  <c:v>19981.562999999995</c:v>
                </c:pt>
                <c:pt idx="1079">
                  <c:v>19976.277999999998</c:v>
                </c:pt>
                <c:pt idx="1080">
                  <c:v>19967.782000000021</c:v>
                </c:pt>
                <c:pt idx="1081">
                  <c:v>19956.433000000001</c:v>
                </c:pt>
                <c:pt idx="1082">
                  <c:v>19944.925999999999</c:v>
                </c:pt>
                <c:pt idx="1083">
                  <c:v>19939.578000000001</c:v>
                </c:pt>
                <c:pt idx="1084">
                  <c:v>19936.43</c:v>
                </c:pt>
                <c:pt idx="1085">
                  <c:v>19929.748000000021</c:v>
                </c:pt>
                <c:pt idx="1086">
                  <c:v>19922.347999999998</c:v>
                </c:pt>
                <c:pt idx="1087">
                  <c:v>19905.183000000001</c:v>
                </c:pt>
                <c:pt idx="1088">
                  <c:v>19904.463000000025</c:v>
                </c:pt>
                <c:pt idx="1089">
                  <c:v>19902.343000000001</c:v>
                </c:pt>
                <c:pt idx="1090">
                  <c:v>19898.543999999998</c:v>
                </c:pt>
                <c:pt idx="1091">
                  <c:v>19892.593999999997</c:v>
                </c:pt>
                <c:pt idx="1092">
                  <c:v>19878.870999999996</c:v>
                </c:pt>
                <c:pt idx="1093">
                  <c:v>19877.687999999998</c:v>
                </c:pt>
                <c:pt idx="1094">
                  <c:v>19862.41</c:v>
                </c:pt>
                <c:pt idx="1095">
                  <c:v>19860.638999999996</c:v>
                </c:pt>
                <c:pt idx="1096">
                  <c:v>19858.325000000001</c:v>
                </c:pt>
                <c:pt idx="1097">
                  <c:v>19855.279000000002</c:v>
                </c:pt>
                <c:pt idx="1098">
                  <c:v>19849.030999999992</c:v>
                </c:pt>
                <c:pt idx="1099">
                  <c:v>19845.334000000003</c:v>
                </c:pt>
                <c:pt idx="1100">
                  <c:v>19840.431999999997</c:v>
                </c:pt>
                <c:pt idx="1101">
                  <c:v>19831.300999999996</c:v>
                </c:pt>
                <c:pt idx="1102">
                  <c:v>19828.413</c:v>
                </c:pt>
                <c:pt idx="1103">
                  <c:v>19803.23</c:v>
                </c:pt>
                <c:pt idx="1104">
                  <c:v>19793.167999999998</c:v>
                </c:pt>
                <c:pt idx="1105">
                  <c:v>19791.624999999996</c:v>
                </c:pt>
                <c:pt idx="1106">
                  <c:v>19790.788000000022</c:v>
                </c:pt>
                <c:pt idx="1107">
                  <c:v>19788.147000000001</c:v>
                </c:pt>
                <c:pt idx="1108">
                  <c:v>19761.096000000001</c:v>
                </c:pt>
                <c:pt idx="1109">
                  <c:v>19752.997000000021</c:v>
                </c:pt>
                <c:pt idx="1110">
                  <c:v>19745.914000000001</c:v>
                </c:pt>
                <c:pt idx="1111">
                  <c:v>19743.442999999999</c:v>
                </c:pt>
                <c:pt idx="1112">
                  <c:v>19729.627</c:v>
                </c:pt>
                <c:pt idx="1113">
                  <c:v>19728.788000000022</c:v>
                </c:pt>
                <c:pt idx="1114">
                  <c:v>19707.565000000021</c:v>
                </c:pt>
                <c:pt idx="1115">
                  <c:v>19699.593000000001</c:v>
                </c:pt>
                <c:pt idx="1116">
                  <c:v>19650.946000000018</c:v>
                </c:pt>
                <c:pt idx="1117">
                  <c:v>19650.503166999992</c:v>
                </c:pt>
                <c:pt idx="1118">
                  <c:v>19641.554</c:v>
                </c:pt>
                <c:pt idx="1119">
                  <c:v>19639.978000000021</c:v>
                </c:pt>
                <c:pt idx="1120">
                  <c:v>19630.565000000021</c:v>
                </c:pt>
                <c:pt idx="1121">
                  <c:v>19620.324000000001</c:v>
                </c:pt>
                <c:pt idx="1122">
                  <c:v>19618.046000000009</c:v>
                </c:pt>
                <c:pt idx="1123">
                  <c:v>19594.284000000021</c:v>
                </c:pt>
                <c:pt idx="1124">
                  <c:v>19570.387999999999</c:v>
                </c:pt>
                <c:pt idx="1125">
                  <c:v>19566.080999999998</c:v>
                </c:pt>
                <c:pt idx="1126">
                  <c:v>19562.820055999997</c:v>
                </c:pt>
                <c:pt idx="1127">
                  <c:v>19551.684000000001</c:v>
                </c:pt>
                <c:pt idx="1128">
                  <c:v>19536.856</c:v>
                </c:pt>
                <c:pt idx="1129">
                  <c:v>19526.830999999976</c:v>
                </c:pt>
                <c:pt idx="1130">
                  <c:v>19500.686999999998</c:v>
                </c:pt>
                <c:pt idx="1131">
                  <c:v>19497.524000000001</c:v>
                </c:pt>
                <c:pt idx="1132">
                  <c:v>19493.317999999996</c:v>
                </c:pt>
                <c:pt idx="1133">
                  <c:v>19480.737000000001</c:v>
                </c:pt>
                <c:pt idx="1134">
                  <c:v>19463.434999999998</c:v>
                </c:pt>
                <c:pt idx="1135">
                  <c:v>19462.057000000001</c:v>
                </c:pt>
                <c:pt idx="1136">
                  <c:v>19461.397000000001</c:v>
                </c:pt>
                <c:pt idx="1137">
                  <c:v>19459.058999999997</c:v>
                </c:pt>
                <c:pt idx="1138">
                  <c:v>19457.681</c:v>
                </c:pt>
                <c:pt idx="1139">
                  <c:v>19445.234</c:v>
                </c:pt>
                <c:pt idx="1140">
                  <c:v>19444.575999999997</c:v>
                </c:pt>
                <c:pt idx="1141">
                  <c:v>19432.276000000005</c:v>
                </c:pt>
                <c:pt idx="1142">
                  <c:v>19431.287000000022</c:v>
                </c:pt>
                <c:pt idx="1143">
                  <c:v>19430.922999999999</c:v>
                </c:pt>
                <c:pt idx="1144">
                  <c:v>19427.460999999999</c:v>
                </c:pt>
                <c:pt idx="1145">
                  <c:v>19426.224000000009</c:v>
                </c:pt>
                <c:pt idx="1146">
                  <c:v>19421.197</c:v>
                </c:pt>
                <c:pt idx="1147">
                  <c:v>19420.848000000005</c:v>
                </c:pt>
                <c:pt idx="1148">
                  <c:v>19406.204000000005</c:v>
                </c:pt>
                <c:pt idx="1149">
                  <c:v>19397.138999999996</c:v>
                </c:pt>
                <c:pt idx="1150">
                  <c:v>19394.690000000002</c:v>
                </c:pt>
                <c:pt idx="1151">
                  <c:v>19393.192999999996</c:v>
                </c:pt>
                <c:pt idx="1152">
                  <c:v>19382.887000000021</c:v>
                </c:pt>
                <c:pt idx="1153">
                  <c:v>19376.635000000002</c:v>
                </c:pt>
                <c:pt idx="1154">
                  <c:v>19374.291999999998</c:v>
                </c:pt>
                <c:pt idx="1155">
                  <c:v>19372.915000000001</c:v>
                </c:pt>
                <c:pt idx="1156">
                  <c:v>19365.894000000004</c:v>
                </c:pt>
                <c:pt idx="1157">
                  <c:v>19363.762999999999</c:v>
                </c:pt>
                <c:pt idx="1158">
                  <c:v>19355.217000000001</c:v>
                </c:pt>
                <c:pt idx="1159">
                  <c:v>19352.229999999996</c:v>
                </c:pt>
                <c:pt idx="1160">
                  <c:v>19351.610999999979</c:v>
                </c:pt>
                <c:pt idx="1161">
                  <c:v>19349.795000000009</c:v>
                </c:pt>
                <c:pt idx="1162">
                  <c:v>19348.268000000025</c:v>
                </c:pt>
                <c:pt idx="1163">
                  <c:v>19342.050999999996</c:v>
                </c:pt>
                <c:pt idx="1164">
                  <c:v>19338.969000000001</c:v>
                </c:pt>
                <c:pt idx="1165">
                  <c:v>19314.308999999997</c:v>
                </c:pt>
                <c:pt idx="1166">
                  <c:v>19307.218000000001</c:v>
                </c:pt>
                <c:pt idx="1167">
                  <c:v>19289.462000000021</c:v>
                </c:pt>
                <c:pt idx="1168">
                  <c:v>19288.501</c:v>
                </c:pt>
                <c:pt idx="1169">
                  <c:v>19279.751</c:v>
                </c:pt>
                <c:pt idx="1170">
                  <c:v>19279.066999999999</c:v>
                </c:pt>
                <c:pt idx="1171">
                  <c:v>19275.584000000021</c:v>
                </c:pt>
                <c:pt idx="1172">
                  <c:v>19253.416999999998</c:v>
                </c:pt>
                <c:pt idx="1173">
                  <c:v>19237.07</c:v>
                </c:pt>
                <c:pt idx="1174">
                  <c:v>19233.68</c:v>
                </c:pt>
                <c:pt idx="1175">
                  <c:v>19224.197</c:v>
                </c:pt>
                <c:pt idx="1176">
                  <c:v>19217.677000000003</c:v>
                </c:pt>
                <c:pt idx="1177">
                  <c:v>19213.760999999999</c:v>
                </c:pt>
                <c:pt idx="1178">
                  <c:v>19195.328000000001</c:v>
                </c:pt>
                <c:pt idx="1179">
                  <c:v>19191.452000000005</c:v>
                </c:pt>
                <c:pt idx="1180">
                  <c:v>19190.953000000001</c:v>
                </c:pt>
                <c:pt idx="1181">
                  <c:v>19187.078000000001</c:v>
                </c:pt>
                <c:pt idx="1182">
                  <c:v>19182.218000000001</c:v>
                </c:pt>
                <c:pt idx="1183">
                  <c:v>19177.692999999996</c:v>
                </c:pt>
                <c:pt idx="1184">
                  <c:v>19176.733</c:v>
                </c:pt>
                <c:pt idx="1185">
                  <c:v>19170.263999999999</c:v>
                </c:pt>
                <c:pt idx="1186">
                  <c:v>19164.987000000023</c:v>
                </c:pt>
                <c:pt idx="1187">
                  <c:v>19146</c:v>
                </c:pt>
                <c:pt idx="1188">
                  <c:v>19142.315999999992</c:v>
                </c:pt>
                <c:pt idx="1189">
                  <c:v>19141.808999999997</c:v>
                </c:pt>
                <c:pt idx="1190">
                  <c:v>19136.705000000005</c:v>
                </c:pt>
                <c:pt idx="1191">
                  <c:v>19125.835999999996</c:v>
                </c:pt>
                <c:pt idx="1192">
                  <c:v>19118.007000000001</c:v>
                </c:pt>
                <c:pt idx="1193">
                  <c:v>19116.229999999996</c:v>
                </c:pt>
                <c:pt idx="1194">
                  <c:v>19113.940999999999</c:v>
                </c:pt>
                <c:pt idx="1195">
                  <c:v>19113.090999999997</c:v>
                </c:pt>
                <c:pt idx="1196">
                  <c:v>19109.764000000021</c:v>
                </c:pt>
                <c:pt idx="1197">
                  <c:v>19095.478999999999</c:v>
                </c:pt>
                <c:pt idx="1198">
                  <c:v>19094.306</c:v>
                </c:pt>
                <c:pt idx="1199">
                  <c:v>19091.895</c:v>
                </c:pt>
                <c:pt idx="1200">
                  <c:v>19082.870999999996</c:v>
                </c:pt>
                <c:pt idx="1201">
                  <c:v>19063.819999999963</c:v>
                </c:pt>
                <c:pt idx="1202">
                  <c:v>19052.371999999996</c:v>
                </c:pt>
                <c:pt idx="1203">
                  <c:v>19049.828999999998</c:v>
                </c:pt>
                <c:pt idx="1204">
                  <c:v>19041.685000000005</c:v>
                </c:pt>
                <c:pt idx="1205">
                  <c:v>19024.435000000001</c:v>
                </c:pt>
                <c:pt idx="1206">
                  <c:v>19018.917000000001</c:v>
                </c:pt>
                <c:pt idx="1207">
                  <c:v>19011.609999999979</c:v>
                </c:pt>
                <c:pt idx="1208">
                  <c:v>18988.224000000009</c:v>
                </c:pt>
                <c:pt idx="1209">
                  <c:v>18986.938999999998</c:v>
                </c:pt>
                <c:pt idx="1210">
                  <c:v>18979.932000000001</c:v>
                </c:pt>
                <c:pt idx="1211">
                  <c:v>18965.929</c:v>
                </c:pt>
                <c:pt idx="1212">
                  <c:v>18942.441999999999</c:v>
                </c:pt>
                <c:pt idx="1213">
                  <c:v>18934.356</c:v>
                </c:pt>
                <c:pt idx="1214">
                  <c:v>18934.003000000001</c:v>
                </c:pt>
                <c:pt idx="1215">
                  <c:v>18933.035</c:v>
                </c:pt>
                <c:pt idx="1216">
                  <c:v>18930.72</c:v>
                </c:pt>
                <c:pt idx="1217">
                  <c:v>18905.63199999998</c:v>
                </c:pt>
                <c:pt idx="1218">
                  <c:v>18902.357</c:v>
                </c:pt>
                <c:pt idx="1219">
                  <c:v>18898.664999999997</c:v>
                </c:pt>
                <c:pt idx="1220">
                  <c:v>18896.109999999979</c:v>
                </c:pt>
                <c:pt idx="1221">
                  <c:v>18893.445000000022</c:v>
                </c:pt>
                <c:pt idx="1222">
                  <c:v>18888.887000000021</c:v>
                </c:pt>
                <c:pt idx="1223">
                  <c:v>18880.897999999997</c:v>
                </c:pt>
                <c:pt idx="1224">
                  <c:v>18873.280000000021</c:v>
                </c:pt>
                <c:pt idx="1225">
                  <c:v>18873.170722000003</c:v>
                </c:pt>
                <c:pt idx="1226">
                  <c:v>18871.414000000001</c:v>
                </c:pt>
                <c:pt idx="1227">
                  <c:v>18864.827999999998</c:v>
                </c:pt>
                <c:pt idx="1228">
                  <c:v>18852.128999999997</c:v>
                </c:pt>
                <c:pt idx="1229">
                  <c:v>18848.397000000001</c:v>
                </c:pt>
                <c:pt idx="1230">
                  <c:v>18845.236000000001</c:v>
                </c:pt>
                <c:pt idx="1231">
                  <c:v>18842.53</c:v>
                </c:pt>
                <c:pt idx="1232">
                  <c:v>18825.937999999998</c:v>
                </c:pt>
                <c:pt idx="1233">
                  <c:v>18825.667000000001</c:v>
                </c:pt>
                <c:pt idx="1234">
                  <c:v>18815.40400000002</c:v>
                </c:pt>
                <c:pt idx="1235">
                  <c:v>18799.681999999997</c:v>
                </c:pt>
                <c:pt idx="1236">
                  <c:v>18799.223000000005</c:v>
                </c:pt>
                <c:pt idx="1237">
                  <c:v>18770.421000000009</c:v>
                </c:pt>
                <c:pt idx="1238">
                  <c:v>18765.245000000021</c:v>
                </c:pt>
                <c:pt idx="1239">
                  <c:v>18758.214999999997</c:v>
                </c:pt>
                <c:pt idx="1240">
                  <c:v>18757.877</c:v>
                </c:pt>
                <c:pt idx="1241">
                  <c:v>18750.371999999996</c:v>
                </c:pt>
                <c:pt idx="1242">
                  <c:v>18748.652999999977</c:v>
                </c:pt>
                <c:pt idx="1243">
                  <c:v>18741.586000000021</c:v>
                </c:pt>
                <c:pt idx="1244">
                  <c:v>18716.726999999999</c:v>
                </c:pt>
                <c:pt idx="1245">
                  <c:v>18709.182999999997</c:v>
                </c:pt>
                <c:pt idx="1246">
                  <c:v>18699.662</c:v>
                </c:pt>
                <c:pt idx="1247">
                  <c:v>18698.884999999998</c:v>
                </c:pt>
                <c:pt idx="1248">
                  <c:v>18694.084000000021</c:v>
                </c:pt>
                <c:pt idx="1249">
                  <c:v>18676.564000000009</c:v>
                </c:pt>
                <c:pt idx="1250">
                  <c:v>18671.741999999998</c:v>
                </c:pt>
                <c:pt idx="1251">
                  <c:v>18666.182999999997</c:v>
                </c:pt>
                <c:pt idx="1252">
                  <c:v>18663.014000000003</c:v>
                </c:pt>
                <c:pt idx="1253">
                  <c:v>18653.689000000002</c:v>
                </c:pt>
                <c:pt idx="1254">
                  <c:v>18647.867999999999</c:v>
                </c:pt>
                <c:pt idx="1255">
                  <c:v>18632.945000000022</c:v>
                </c:pt>
                <c:pt idx="1256">
                  <c:v>18630.915000000001</c:v>
                </c:pt>
                <c:pt idx="1257">
                  <c:v>18620.914000000001</c:v>
                </c:pt>
                <c:pt idx="1258">
                  <c:v>18615.025000000001</c:v>
                </c:pt>
                <c:pt idx="1259">
                  <c:v>18614.89</c:v>
                </c:pt>
                <c:pt idx="1260">
                  <c:v>18608.661</c:v>
                </c:pt>
                <c:pt idx="1261">
                  <c:v>18607.420000000009</c:v>
                </c:pt>
                <c:pt idx="1262">
                  <c:v>18604.492000000009</c:v>
                </c:pt>
                <c:pt idx="1263">
                  <c:v>18602.452999999998</c:v>
                </c:pt>
                <c:pt idx="1264">
                  <c:v>18594.933000000001</c:v>
                </c:pt>
                <c:pt idx="1265">
                  <c:v>18568.75</c:v>
                </c:pt>
                <c:pt idx="1266">
                  <c:v>18558.775000000001</c:v>
                </c:pt>
                <c:pt idx="1267">
                  <c:v>18544.198</c:v>
                </c:pt>
                <c:pt idx="1268">
                  <c:v>18534.901999999998</c:v>
                </c:pt>
                <c:pt idx="1269">
                  <c:v>18533.767000000025</c:v>
                </c:pt>
                <c:pt idx="1270">
                  <c:v>18528.469000000001</c:v>
                </c:pt>
                <c:pt idx="1271">
                  <c:v>18496.536000000004</c:v>
                </c:pt>
                <c:pt idx="1272">
                  <c:v>18490.954999999998</c:v>
                </c:pt>
                <c:pt idx="1273">
                  <c:v>18482.526000000005</c:v>
                </c:pt>
                <c:pt idx="1274">
                  <c:v>18468.511999999992</c:v>
                </c:pt>
                <c:pt idx="1275">
                  <c:v>18465.903999999999</c:v>
                </c:pt>
                <c:pt idx="1276">
                  <c:v>18465.062999999998</c:v>
                </c:pt>
                <c:pt idx="1277">
                  <c:v>18455.437000000005</c:v>
                </c:pt>
                <c:pt idx="1278">
                  <c:v>18444.644</c:v>
                </c:pt>
                <c:pt idx="1279">
                  <c:v>18444.364000000005</c:v>
                </c:pt>
                <c:pt idx="1280">
                  <c:v>18422.403999999999</c:v>
                </c:pt>
                <c:pt idx="1281">
                  <c:v>18421.53</c:v>
                </c:pt>
                <c:pt idx="1282">
                  <c:v>18419.253000000001</c:v>
                </c:pt>
                <c:pt idx="1283">
                  <c:v>18418.343000000001</c:v>
                </c:pt>
                <c:pt idx="1284">
                  <c:v>18415.489000000001</c:v>
                </c:pt>
                <c:pt idx="1285">
                  <c:v>18413.900999999998</c:v>
                </c:pt>
                <c:pt idx="1286">
                  <c:v>18405.044999999998</c:v>
                </c:pt>
                <c:pt idx="1287">
                  <c:v>18396.945778000001</c:v>
                </c:pt>
                <c:pt idx="1288">
                  <c:v>18392.798999999999</c:v>
                </c:pt>
                <c:pt idx="1289">
                  <c:v>18391.122000000003</c:v>
                </c:pt>
                <c:pt idx="1290">
                  <c:v>18379.469999999998</c:v>
                </c:pt>
                <c:pt idx="1291">
                  <c:v>18374.602999999996</c:v>
                </c:pt>
                <c:pt idx="1292">
                  <c:v>18346.155999999992</c:v>
                </c:pt>
                <c:pt idx="1293">
                  <c:v>18340.371000000003</c:v>
                </c:pt>
                <c:pt idx="1294">
                  <c:v>18323.894</c:v>
                </c:pt>
                <c:pt idx="1295">
                  <c:v>18306.698</c:v>
                </c:pt>
                <c:pt idx="1296">
                  <c:v>18284.893</c:v>
                </c:pt>
                <c:pt idx="1297">
                  <c:v>18272.746999999999</c:v>
                </c:pt>
                <c:pt idx="1298">
                  <c:v>18260.251999999997</c:v>
                </c:pt>
                <c:pt idx="1299">
                  <c:v>18260.028999999999</c:v>
                </c:pt>
                <c:pt idx="1300">
                  <c:v>18258.351999999992</c:v>
                </c:pt>
                <c:pt idx="1301">
                  <c:v>18258.178000000004</c:v>
                </c:pt>
                <c:pt idx="1302">
                  <c:v>18257.202000000001</c:v>
                </c:pt>
                <c:pt idx="1303">
                  <c:v>18255.922999999999</c:v>
                </c:pt>
                <c:pt idx="1304">
                  <c:v>18232.069999999996</c:v>
                </c:pt>
                <c:pt idx="1305">
                  <c:v>18226.641</c:v>
                </c:pt>
                <c:pt idx="1306">
                  <c:v>18225.775999999998</c:v>
                </c:pt>
                <c:pt idx="1307">
                  <c:v>18221.990000000005</c:v>
                </c:pt>
                <c:pt idx="1308">
                  <c:v>18206.858999999997</c:v>
                </c:pt>
                <c:pt idx="1309">
                  <c:v>18203.07</c:v>
                </c:pt>
                <c:pt idx="1310">
                  <c:v>18200.52</c:v>
                </c:pt>
                <c:pt idx="1311">
                  <c:v>18200.106</c:v>
                </c:pt>
                <c:pt idx="1312">
                  <c:v>18199.593000000001</c:v>
                </c:pt>
                <c:pt idx="1313">
                  <c:v>18194.881999999998</c:v>
                </c:pt>
                <c:pt idx="1314">
                  <c:v>18178.194000000003</c:v>
                </c:pt>
                <c:pt idx="1315">
                  <c:v>18159.573000000004</c:v>
                </c:pt>
                <c:pt idx="1316">
                  <c:v>18153.077999999998</c:v>
                </c:pt>
                <c:pt idx="1317">
                  <c:v>18149.371999999996</c:v>
                </c:pt>
                <c:pt idx="1318">
                  <c:v>18148.494999999999</c:v>
                </c:pt>
                <c:pt idx="1319">
                  <c:v>18142.399999999976</c:v>
                </c:pt>
                <c:pt idx="1320">
                  <c:v>18142.161</c:v>
                </c:pt>
                <c:pt idx="1321">
                  <c:v>18131.298999999999</c:v>
                </c:pt>
                <c:pt idx="1322">
                  <c:v>18114.26100000002</c:v>
                </c:pt>
                <c:pt idx="1323">
                  <c:v>18108.282999999999</c:v>
                </c:pt>
                <c:pt idx="1324">
                  <c:v>18103.229000000003</c:v>
                </c:pt>
                <c:pt idx="1325">
                  <c:v>18093.249</c:v>
                </c:pt>
                <c:pt idx="1326">
                  <c:v>18092.837</c:v>
                </c:pt>
                <c:pt idx="1327">
                  <c:v>18074.334000000003</c:v>
                </c:pt>
                <c:pt idx="1328">
                  <c:v>18061.094000000001</c:v>
                </c:pt>
                <c:pt idx="1329">
                  <c:v>18058.674999999996</c:v>
                </c:pt>
                <c:pt idx="1330">
                  <c:v>18041.738999999998</c:v>
                </c:pt>
                <c:pt idx="1331">
                  <c:v>18041.668000000001</c:v>
                </c:pt>
                <c:pt idx="1332">
                  <c:v>18035.857</c:v>
                </c:pt>
                <c:pt idx="1333">
                  <c:v>18028.236000000001</c:v>
                </c:pt>
                <c:pt idx="1334">
                  <c:v>18020.005000000001</c:v>
                </c:pt>
                <c:pt idx="1335">
                  <c:v>18012.088000000022</c:v>
                </c:pt>
                <c:pt idx="1336">
                  <c:v>18010.245999999999</c:v>
                </c:pt>
                <c:pt idx="1337">
                  <c:v>18008.129999999979</c:v>
                </c:pt>
                <c:pt idx="1338">
                  <c:v>18002.006000000001</c:v>
                </c:pt>
                <c:pt idx="1339">
                  <c:v>18000.070999999996</c:v>
                </c:pt>
                <c:pt idx="1340">
                  <c:v>17992.733</c:v>
                </c:pt>
                <c:pt idx="1341">
                  <c:v>17984.346000000001</c:v>
                </c:pt>
                <c:pt idx="1342">
                  <c:v>17972.924999999999</c:v>
                </c:pt>
                <c:pt idx="1343">
                  <c:v>17967.777999999998</c:v>
                </c:pt>
                <c:pt idx="1344">
                  <c:v>17967.504000000001</c:v>
                </c:pt>
                <c:pt idx="1345">
                  <c:v>17963.542999999998</c:v>
                </c:pt>
                <c:pt idx="1346">
                  <c:v>17954.204000000005</c:v>
                </c:pt>
                <c:pt idx="1347">
                  <c:v>17947.059999999972</c:v>
                </c:pt>
                <c:pt idx="1348">
                  <c:v>17945.403999999999</c:v>
                </c:pt>
                <c:pt idx="1349">
                  <c:v>17940.042000000001</c:v>
                </c:pt>
                <c:pt idx="1350">
                  <c:v>17940.037</c:v>
                </c:pt>
                <c:pt idx="1351">
                  <c:v>17939.962000000021</c:v>
                </c:pt>
                <c:pt idx="1352">
                  <c:v>17939.718999999997</c:v>
                </c:pt>
                <c:pt idx="1353">
                  <c:v>17934.501</c:v>
                </c:pt>
                <c:pt idx="1354">
                  <c:v>17919.822</c:v>
                </c:pt>
                <c:pt idx="1355">
                  <c:v>17917.667000000001</c:v>
                </c:pt>
                <c:pt idx="1356">
                  <c:v>17904.691999999992</c:v>
                </c:pt>
                <c:pt idx="1357">
                  <c:v>17901.769</c:v>
                </c:pt>
                <c:pt idx="1358">
                  <c:v>17883.007000000005</c:v>
                </c:pt>
                <c:pt idx="1359">
                  <c:v>17879.641</c:v>
                </c:pt>
                <c:pt idx="1360">
                  <c:v>17872.610999999983</c:v>
                </c:pt>
                <c:pt idx="1361">
                  <c:v>17871.175999999996</c:v>
                </c:pt>
                <c:pt idx="1362">
                  <c:v>17865.414000000004</c:v>
                </c:pt>
                <c:pt idx="1363">
                  <c:v>17863.387999999999</c:v>
                </c:pt>
                <c:pt idx="1364">
                  <c:v>17860.235000000001</c:v>
                </c:pt>
                <c:pt idx="1365">
                  <c:v>17858.763999999999</c:v>
                </c:pt>
                <c:pt idx="1366">
                  <c:v>17847.256000000001</c:v>
                </c:pt>
                <c:pt idx="1367">
                  <c:v>17807.900999999998</c:v>
                </c:pt>
                <c:pt idx="1368">
                  <c:v>17804.427000000022</c:v>
                </c:pt>
                <c:pt idx="1369">
                  <c:v>17793.897000000001</c:v>
                </c:pt>
                <c:pt idx="1370">
                  <c:v>17782.702000000001</c:v>
                </c:pt>
                <c:pt idx="1371">
                  <c:v>17779.816999999992</c:v>
                </c:pt>
                <c:pt idx="1372">
                  <c:v>17778.525000000001</c:v>
                </c:pt>
                <c:pt idx="1373">
                  <c:v>17772.327999999998</c:v>
                </c:pt>
                <c:pt idx="1374">
                  <c:v>17770.280000000021</c:v>
                </c:pt>
                <c:pt idx="1375">
                  <c:v>17761.606</c:v>
                </c:pt>
                <c:pt idx="1376">
                  <c:v>17760.059999999972</c:v>
                </c:pt>
                <c:pt idx="1377">
                  <c:v>17758.14</c:v>
                </c:pt>
                <c:pt idx="1378">
                  <c:v>17757.135000000002</c:v>
                </c:pt>
                <c:pt idx="1379">
                  <c:v>17746.927000000022</c:v>
                </c:pt>
                <c:pt idx="1380">
                  <c:v>17734.375</c:v>
                </c:pt>
                <c:pt idx="1381">
                  <c:v>17733.401000000005</c:v>
                </c:pt>
                <c:pt idx="1382">
                  <c:v>17733.188000000009</c:v>
                </c:pt>
                <c:pt idx="1383">
                  <c:v>17733.026000000005</c:v>
                </c:pt>
                <c:pt idx="1384">
                  <c:v>17730.082999999999</c:v>
                </c:pt>
                <c:pt idx="1385">
                  <c:v>17724.848999999998</c:v>
                </c:pt>
                <c:pt idx="1386">
                  <c:v>17723.145</c:v>
                </c:pt>
                <c:pt idx="1387">
                  <c:v>17712.07</c:v>
                </c:pt>
                <c:pt idx="1388">
                  <c:v>17700.176999999996</c:v>
                </c:pt>
                <c:pt idx="1389">
                  <c:v>17686.489999999998</c:v>
                </c:pt>
                <c:pt idx="1390">
                  <c:v>17680.045000000009</c:v>
                </c:pt>
                <c:pt idx="1391">
                  <c:v>17632.316000000003</c:v>
                </c:pt>
                <c:pt idx="1392">
                  <c:v>17632.250000000004</c:v>
                </c:pt>
                <c:pt idx="1393">
                  <c:v>17621.018999999997</c:v>
                </c:pt>
                <c:pt idx="1394">
                  <c:v>17615.314999999977</c:v>
                </c:pt>
                <c:pt idx="1395">
                  <c:v>17609.288000000022</c:v>
                </c:pt>
                <c:pt idx="1396">
                  <c:v>17605.304</c:v>
                </c:pt>
                <c:pt idx="1397">
                  <c:v>17604.511999999992</c:v>
                </c:pt>
                <c:pt idx="1398">
                  <c:v>17594.970999999998</c:v>
                </c:pt>
                <c:pt idx="1399">
                  <c:v>17592.274999999998</c:v>
                </c:pt>
                <c:pt idx="1400">
                  <c:v>17586.662000000004</c:v>
                </c:pt>
                <c:pt idx="1401">
                  <c:v>17586.553000000004</c:v>
                </c:pt>
                <c:pt idx="1402">
                  <c:v>17586.267000000022</c:v>
                </c:pt>
                <c:pt idx="1403">
                  <c:v>17576.259000000002</c:v>
                </c:pt>
                <c:pt idx="1404">
                  <c:v>17567.324000000001</c:v>
                </c:pt>
                <c:pt idx="1405">
                  <c:v>17566.017</c:v>
                </c:pt>
                <c:pt idx="1406">
                  <c:v>17557.894</c:v>
                </c:pt>
                <c:pt idx="1407">
                  <c:v>17553.575000000001</c:v>
                </c:pt>
                <c:pt idx="1408">
                  <c:v>17546.728000000021</c:v>
                </c:pt>
                <c:pt idx="1409">
                  <c:v>17536.657999999996</c:v>
                </c:pt>
                <c:pt idx="1410">
                  <c:v>17533.505999999998</c:v>
                </c:pt>
                <c:pt idx="1411">
                  <c:v>17530.658999999996</c:v>
                </c:pt>
                <c:pt idx="1412">
                  <c:v>17529.600999999977</c:v>
                </c:pt>
                <c:pt idx="1413">
                  <c:v>17528.988000000027</c:v>
                </c:pt>
                <c:pt idx="1414">
                  <c:v>17528.654000000002</c:v>
                </c:pt>
                <c:pt idx="1415">
                  <c:v>17518.857</c:v>
                </c:pt>
                <c:pt idx="1416">
                  <c:v>17514.585999999999</c:v>
                </c:pt>
                <c:pt idx="1417">
                  <c:v>17504.993999999999</c:v>
                </c:pt>
                <c:pt idx="1418">
                  <c:v>17489.085999999999</c:v>
                </c:pt>
                <c:pt idx="1419">
                  <c:v>17488.789000000001</c:v>
                </c:pt>
                <c:pt idx="1420">
                  <c:v>17486.707999999999</c:v>
                </c:pt>
                <c:pt idx="1421">
                  <c:v>17483.651000000002</c:v>
                </c:pt>
                <c:pt idx="1422">
                  <c:v>17482.305</c:v>
                </c:pt>
                <c:pt idx="1423">
                  <c:v>17481.826000000001</c:v>
                </c:pt>
                <c:pt idx="1424">
                  <c:v>17480.460000000021</c:v>
                </c:pt>
                <c:pt idx="1425">
                  <c:v>17473.212</c:v>
                </c:pt>
                <c:pt idx="1426">
                  <c:v>17453.392</c:v>
                </c:pt>
                <c:pt idx="1427">
                  <c:v>17449.7</c:v>
                </c:pt>
                <c:pt idx="1428">
                  <c:v>17441.68</c:v>
                </c:pt>
                <c:pt idx="1429">
                  <c:v>17438.746999999999</c:v>
                </c:pt>
                <c:pt idx="1430">
                  <c:v>17426.243000000009</c:v>
                </c:pt>
                <c:pt idx="1431">
                  <c:v>17415.22</c:v>
                </c:pt>
                <c:pt idx="1432">
                  <c:v>17412.331999999977</c:v>
                </c:pt>
                <c:pt idx="1433">
                  <c:v>17409.047999999999</c:v>
                </c:pt>
                <c:pt idx="1434">
                  <c:v>17407.621999999996</c:v>
                </c:pt>
                <c:pt idx="1435">
                  <c:v>17406.356</c:v>
                </c:pt>
                <c:pt idx="1436">
                  <c:v>17389.678</c:v>
                </c:pt>
                <c:pt idx="1437">
                  <c:v>17378.999</c:v>
                </c:pt>
                <c:pt idx="1438">
                  <c:v>17373.267000000022</c:v>
                </c:pt>
                <c:pt idx="1439">
                  <c:v>17364.945000000022</c:v>
                </c:pt>
                <c:pt idx="1440">
                  <c:v>17358.595000000001</c:v>
                </c:pt>
                <c:pt idx="1441">
                  <c:v>17357.957999999999</c:v>
                </c:pt>
                <c:pt idx="1442">
                  <c:v>17354.151000000002</c:v>
                </c:pt>
                <c:pt idx="1443">
                  <c:v>17353.77</c:v>
                </c:pt>
                <c:pt idx="1444">
                  <c:v>17344.823</c:v>
                </c:pt>
                <c:pt idx="1445">
                  <c:v>17344.782000000021</c:v>
                </c:pt>
                <c:pt idx="1446">
                  <c:v>17341.644</c:v>
                </c:pt>
                <c:pt idx="1447">
                  <c:v>17341.100000000002</c:v>
                </c:pt>
                <c:pt idx="1448">
                  <c:v>17334.067999999999</c:v>
                </c:pt>
                <c:pt idx="1449">
                  <c:v>17330.717999999997</c:v>
                </c:pt>
                <c:pt idx="1450">
                  <c:v>17325.312000000002</c:v>
                </c:pt>
                <c:pt idx="1451">
                  <c:v>17316.227333000021</c:v>
                </c:pt>
                <c:pt idx="1452">
                  <c:v>17314.763999999999</c:v>
                </c:pt>
                <c:pt idx="1453">
                  <c:v>17307.985000000022</c:v>
                </c:pt>
                <c:pt idx="1454">
                  <c:v>17301.742000000009</c:v>
                </c:pt>
                <c:pt idx="1455">
                  <c:v>17300.429111000001</c:v>
                </c:pt>
                <c:pt idx="1456">
                  <c:v>17293.084999999999</c:v>
                </c:pt>
                <c:pt idx="1457">
                  <c:v>17265.513999999996</c:v>
                </c:pt>
                <c:pt idx="1458">
                  <c:v>17265.009999999977</c:v>
                </c:pt>
                <c:pt idx="1459">
                  <c:v>17257.638999999996</c:v>
                </c:pt>
                <c:pt idx="1460">
                  <c:v>17255.858</c:v>
                </c:pt>
                <c:pt idx="1461">
                  <c:v>17247.953000000001</c:v>
                </c:pt>
                <c:pt idx="1462">
                  <c:v>17246.305</c:v>
                </c:pt>
                <c:pt idx="1463">
                  <c:v>17243.414999999997</c:v>
                </c:pt>
                <c:pt idx="1464">
                  <c:v>17241.868999999999</c:v>
                </c:pt>
                <c:pt idx="1465">
                  <c:v>17238.976000000021</c:v>
                </c:pt>
                <c:pt idx="1466">
                  <c:v>17234.360999999997</c:v>
                </c:pt>
                <c:pt idx="1467">
                  <c:v>17221.944000000021</c:v>
                </c:pt>
                <c:pt idx="1468">
                  <c:v>17216.096999999998</c:v>
                </c:pt>
                <c:pt idx="1469">
                  <c:v>17204.635000000002</c:v>
                </c:pt>
                <c:pt idx="1470">
                  <c:v>17195.365000000005</c:v>
                </c:pt>
                <c:pt idx="1471">
                  <c:v>17188.828000000001</c:v>
                </c:pt>
                <c:pt idx="1472">
                  <c:v>17172.291999999998</c:v>
                </c:pt>
                <c:pt idx="1473">
                  <c:v>17169.843000000001</c:v>
                </c:pt>
                <c:pt idx="1474">
                  <c:v>17154.127</c:v>
                </c:pt>
                <c:pt idx="1475">
                  <c:v>17152.41</c:v>
                </c:pt>
                <c:pt idx="1476">
                  <c:v>17140.096999999998</c:v>
                </c:pt>
                <c:pt idx="1477">
                  <c:v>17136.865000000005</c:v>
                </c:pt>
                <c:pt idx="1478">
                  <c:v>17134.501</c:v>
                </c:pt>
                <c:pt idx="1479">
                  <c:v>17131.55</c:v>
                </c:pt>
                <c:pt idx="1480">
                  <c:v>17127.974999999999</c:v>
                </c:pt>
                <c:pt idx="1481">
                  <c:v>17108.582999999999</c:v>
                </c:pt>
                <c:pt idx="1482">
                  <c:v>17105.902000000009</c:v>
                </c:pt>
                <c:pt idx="1483">
                  <c:v>17102.329000000002</c:v>
                </c:pt>
                <c:pt idx="1484">
                  <c:v>17098.576222</c:v>
                </c:pt>
                <c:pt idx="1485">
                  <c:v>17098.205000000005</c:v>
                </c:pt>
                <c:pt idx="1486">
                  <c:v>17094.470999999998</c:v>
                </c:pt>
                <c:pt idx="1487">
                  <c:v>17092.845000000001</c:v>
                </c:pt>
                <c:pt idx="1488">
                  <c:v>17076.27</c:v>
                </c:pt>
                <c:pt idx="1489">
                  <c:v>17075.678</c:v>
                </c:pt>
                <c:pt idx="1490">
                  <c:v>17075.240999999998</c:v>
                </c:pt>
                <c:pt idx="1491">
                  <c:v>17072.067999999999</c:v>
                </c:pt>
                <c:pt idx="1492">
                  <c:v>17056.203999999998</c:v>
                </c:pt>
                <c:pt idx="1493">
                  <c:v>17055.346000000001</c:v>
                </c:pt>
                <c:pt idx="1494">
                  <c:v>17048.018999999997</c:v>
                </c:pt>
                <c:pt idx="1495">
                  <c:v>17047.737000000001</c:v>
                </c:pt>
                <c:pt idx="1496">
                  <c:v>17009.578000000001</c:v>
                </c:pt>
                <c:pt idx="1497">
                  <c:v>17008.68</c:v>
                </c:pt>
                <c:pt idx="1498">
                  <c:v>17007.058999999997</c:v>
                </c:pt>
                <c:pt idx="1499">
                  <c:v>16996.026000000005</c:v>
                </c:pt>
                <c:pt idx="1500">
                  <c:v>16989.788000000022</c:v>
                </c:pt>
                <c:pt idx="1501">
                  <c:v>16989.248000000021</c:v>
                </c:pt>
                <c:pt idx="1502">
                  <c:v>16984.381999999998</c:v>
                </c:pt>
                <c:pt idx="1503">
                  <c:v>16982.113999999976</c:v>
                </c:pt>
                <c:pt idx="1504">
                  <c:v>16977.984000000022</c:v>
                </c:pt>
                <c:pt idx="1505">
                  <c:v>16971.54700000002</c:v>
                </c:pt>
                <c:pt idx="1506">
                  <c:v>16952.054000000004</c:v>
                </c:pt>
                <c:pt idx="1507">
                  <c:v>16951.332000000002</c:v>
                </c:pt>
                <c:pt idx="1508">
                  <c:v>16950.5</c:v>
                </c:pt>
                <c:pt idx="1509">
                  <c:v>16938.630999999972</c:v>
                </c:pt>
                <c:pt idx="1510">
                  <c:v>16937.846999999998</c:v>
                </c:pt>
                <c:pt idx="1511">
                  <c:v>16934.958999999999</c:v>
                </c:pt>
                <c:pt idx="1512">
                  <c:v>16934.147000000001</c:v>
                </c:pt>
                <c:pt idx="1513">
                  <c:v>16931.395</c:v>
                </c:pt>
                <c:pt idx="1514">
                  <c:v>16925.451999999997</c:v>
                </c:pt>
                <c:pt idx="1515">
                  <c:v>16922.457999999999</c:v>
                </c:pt>
                <c:pt idx="1516">
                  <c:v>16914.240000000005</c:v>
                </c:pt>
                <c:pt idx="1517">
                  <c:v>16903.168999999998</c:v>
                </c:pt>
                <c:pt idx="1518">
                  <c:v>16899.597999999998</c:v>
                </c:pt>
                <c:pt idx="1519">
                  <c:v>16898.867000000009</c:v>
                </c:pt>
                <c:pt idx="1520">
                  <c:v>16894.118999999992</c:v>
                </c:pt>
                <c:pt idx="1521">
                  <c:v>16890.828000000001</c:v>
                </c:pt>
                <c:pt idx="1522">
                  <c:v>16885.781999999999</c:v>
                </c:pt>
                <c:pt idx="1523">
                  <c:v>16885.381000000001</c:v>
                </c:pt>
                <c:pt idx="1524">
                  <c:v>16879.373000000003</c:v>
                </c:pt>
                <c:pt idx="1525">
                  <c:v>16878.646000000001</c:v>
                </c:pt>
                <c:pt idx="1526">
                  <c:v>16866.616000000002</c:v>
                </c:pt>
                <c:pt idx="1527">
                  <c:v>16865.870999999996</c:v>
                </c:pt>
                <c:pt idx="1528">
                  <c:v>16864.107</c:v>
                </c:pt>
                <c:pt idx="1529">
                  <c:v>16841.875</c:v>
                </c:pt>
                <c:pt idx="1530">
                  <c:v>16837.850000000002</c:v>
                </c:pt>
                <c:pt idx="1531">
                  <c:v>16830.524000000001</c:v>
                </c:pt>
                <c:pt idx="1532">
                  <c:v>16822.850999999977</c:v>
                </c:pt>
                <c:pt idx="1533">
                  <c:v>16810.852999999996</c:v>
                </c:pt>
                <c:pt idx="1534">
                  <c:v>16802.350999999977</c:v>
                </c:pt>
                <c:pt idx="1535">
                  <c:v>16789.809999999979</c:v>
                </c:pt>
                <c:pt idx="1536">
                  <c:v>16781.499</c:v>
                </c:pt>
                <c:pt idx="1537">
                  <c:v>16777.110999999979</c:v>
                </c:pt>
                <c:pt idx="1538">
                  <c:v>16770.544999999998</c:v>
                </c:pt>
                <c:pt idx="1539">
                  <c:v>16758.324000000001</c:v>
                </c:pt>
                <c:pt idx="1540">
                  <c:v>16756.917000000001</c:v>
                </c:pt>
                <c:pt idx="1541">
                  <c:v>16756.800000000003</c:v>
                </c:pt>
                <c:pt idx="1542">
                  <c:v>16755.797999999999</c:v>
                </c:pt>
                <c:pt idx="1543">
                  <c:v>16753.828000000001</c:v>
                </c:pt>
                <c:pt idx="1544">
                  <c:v>16752.580999999998</c:v>
                </c:pt>
                <c:pt idx="1545">
                  <c:v>16748.218999999997</c:v>
                </c:pt>
                <c:pt idx="1546">
                  <c:v>16745.752</c:v>
                </c:pt>
                <c:pt idx="1547">
                  <c:v>16740.095999999998</c:v>
                </c:pt>
                <c:pt idx="1548">
                  <c:v>16732.228999999999</c:v>
                </c:pt>
                <c:pt idx="1549">
                  <c:v>16731.694</c:v>
                </c:pt>
                <c:pt idx="1550">
                  <c:v>16726.382000000001</c:v>
                </c:pt>
                <c:pt idx="1551">
                  <c:v>16726.137000000002</c:v>
                </c:pt>
                <c:pt idx="1552">
                  <c:v>16715.088000000022</c:v>
                </c:pt>
                <c:pt idx="1553">
                  <c:v>16714.826000000001</c:v>
                </c:pt>
                <c:pt idx="1554">
                  <c:v>16713.635999999977</c:v>
                </c:pt>
                <c:pt idx="1555">
                  <c:v>16710.062999999998</c:v>
                </c:pt>
                <c:pt idx="1556">
                  <c:v>16709.603999999996</c:v>
                </c:pt>
                <c:pt idx="1557">
                  <c:v>16699.887999999999</c:v>
                </c:pt>
                <c:pt idx="1558">
                  <c:v>16694.032999999996</c:v>
                </c:pt>
                <c:pt idx="1559">
                  <c:v>16694.018</c:v>
                </c:pt>
                <c:pt idx="1560">
                  <c:v>16691.289000000001</c:v>
                </c:pt>
                <c:pt idx="1561">
                  <c:v>16678.912</c:v>
                </c:pt>
                <c:pt idx="1562">
                  <c:v>16669.184999999998</c:v>
                </c:pt>
                <c:pt idx="1563">
                  <c:v>16665.361999999997</c:v>
                </c:pt>
                <c:pt idx="1564">
                  <c:v>16661.697</c:v>
                </c:pt>
                <c:pt idx="1565">
                  <c:v>16659.011999999992</c:v>
                </c:pt>
                <c:pt idx="1566">
                  <c:v>16657.120999999996</c:v>
                </c:pt>
                <c:pt idx="1567">
                  <c:v>16650.451999999997</c:v>
                </c:pt>
                <c:pt idx="1568">
                  <c:v>16649.142</c:v>
                </c:pt>
                <c:pt idx="1569">
                  <c:v>16646.756999999998</c:v>
                </c:pt>
                <c:pt idx="1570">
                  <c:v>16643.795999999998</c:v>
                </c:pt>
                <c:pt idx="1571">
                  <c:v>16643.158999999996</c:v>
                </c:pt>
                <c:pt idx="1572">
                  <c:v>16633.381000000001</c:v>
                </c:pt>
                <c:pt idx="1573">
                  <c:v>16627.371000000003</c:v>
                </c:pt>
                <c:pt idx="1574">
                  <c:v>16606.949000000001</c:v>
                </c:pt>
                <c:pt idx="1575">
                  <c:v>16606.135000000002</c:v>
                </c:pt>
                <c:pt idx="1576">
                  <c:v>16601.870999999996</c:v>
                </c:pt>
                <c:pt idx="1577">
                  <c:v>16600.021000000001</c:v>
                </c:pt>
                <c:pt idx="1578">
                  <c:v>16588.758000000005</c:v>
                </c:pt>
                <c:pt idx="1579">
                  <c:v>16575.215</c:v>
                </c:pt>
                <c:pt idx="1580">
                  <c:v>16570.322</c:v>
                </c:pt>
                <c:pt idx="1581">
                  <c:v>16566.224999999999</c:v>
                </c:pt>
                <c:pt idx="1582">
                  <c:v>16564.047999999999</c:v>
                </c:pt>
                <c:pt idx="1583">
                  <c:v>16550.578000000001</c:v>
                </c:pt>
                <c:pt idx="1584">
                  <c:v>16548.338</c:v>
                </c:pt>
                <c:pt idx="1585">
                  <c:v>16541.936000000005</c:v>
                </c:pt>
                <c:pt idx="1586">
                  <c:v>16541.166000000001</c:v>
                </c:pt>
                <c:pt idx="1587">
                  <c:v>16530.527000000009</c:v>
                </c:pt>
                <c:pt idx="1588">
                  <c:v>16519.054</c:v>
                </c:pt>
                <c:pt idx="1589">
                  <c:v>16516.802</c:v>
                </c:pt>
                <c:pt idx="1590">
                  <c:v>16516.698</c:v>
                </c:pt>
                <c:pt idx="1591">
                  <c:v>16516.475999999999</c:v>
                </c:pt>
                <c:pt idx="1592">
                  <c:v>16509.674999999996</c:v>
                </c:pt>
                <c:pt idx="1593">
                  <c:v>16500.257000000001</c:v>
                </c:pt>
                <c:pt idx="1594">
                  <c:v>16495.756999999998</c:v>
                </c:pt>
                <c:pt idx="1595">
                  <c:v>16488.318999999996</c:v>
                </c:pt>
                <c:pt idx="1596">
                  <c:v>16479.11399999998</c:v>
                </c:pt>
                <c:pt idx="1597">
                  <c:v>16475.972999999998</c:v>
                </c:pt>
                <c:pt idx="1598">
                  <c:v>16474.668999999998</c:v>
                </c:pt>
                <c:pt idx="1599">
                  <c:v>16472.919999999976</c:v>
                </c:pt>
                <c:pt idx="1600">
                  <c:v>16471.002</c:v>
                </c:pt>
                <c:pt idx="1601">
                  <c:v>16451.531999999996</c:v>
                </c:pt>
                <c:pt idx="1602">
                  <c:v>16446.469000000001</c:v>
                </c:pt>
                <c:pt idx="1603">
                  <c:v>16446.403000000009</c:v>
                </c:pt>
                <c:pt idx="1604">
                  <c:v>16439.326000000001</c:v>
                </c:pt>
                <c:pt idx="1605">
                  <c:v>16438.14</c:v>
                </c:pt>
                <c:pt idx="1606">
                  <c:v>16434.822999999997</c:v>
                </c:pt>
                <c:pt idx="1607">
                  <c:v>16434.758000000005</c:v>
                </c:pt>
                <c:pt idx="1608">
                  <c:v>16433.057000000001</c:v>
                </c:pt>
                <c:pt idx="1609">
                  <c:v>16432.716</c:v>
                </c:pt>
                <c:pt idx="1610">
                  <c:v>16426.409</c:v>
                </c:pt>
                <c:pt idx="1611">
                  <c:v>16423.317999999996</c:v>
                </c:pt>
                <c:pt idx="1612">
                  <c:v>16420.478999999999</c:v>
                </c:pt>
                <c:pt idx="1613">
                  <c:v>16419.378000000001</c:v>
                </c:pt>
                <c:pt idx="1614">
                  <c:v>16411.423000000021</c:v>
                </c:pt>
                <c:pt idx="1615">
                  <c:v>16398.744999999999</c:v>
                </c:pt>
                <c:pt idx="1616">
                  <c:v>16387.775999999998</c:v>
                </c:pt>
                <c:pt idx="1617">
                  <c:v>16387.594000000001</c:v>
                </c:pt>
                <c:pt idx="1618">
                  <c:v>16379.01</c:v>
                </c:pt>
                <c:pt idx="1619">
                  <c:v>16374.39499999999</c:v>
                </c:pt>
                <c:pt idx="1620">
                  <c:v>16373.271999999988</c:v>
                </c:pt>
                <c:pt idx="1621">
                  <c:v>16370.748000000011</c:v>
                </c:pt>
                <c:pt idx="1622">
                  <c:v>16368.450999999981</c:v>
                </c:pt>
                <c:pt idx="1623">
                  <c:v>16359.94</c:v>
                </c:pt>
                <c:pt idx="1624">
                  <c:v>16353.293000000011</c:v>
                </c:pt>
                <c:pt idx="1625">
                  <c:v>16350.537</c:v>
                </c:pt>
                <c:pt idx="1626">
                  <c:v>16349.064999999988</c:v>
                </c:pt>
                <c:pt idx="1627">
                  <c:v>16341.799999999987</c:v>
                </c:pt>
                <c:pt idx="1628">
                  <c:v>16337.954999999984</c:v>
                </c:pt>
                <c:pt idx="1629">
                  <c:v>16330.723999999997</c:v>
                </c:pt>
                <c:pt idx="1630">
                  <c:v>16321.130999999988</c:v>
                </c:pt>
                <c:pt idx="1631">
                  <c:v>16311</c:v>
                </c:pt>
                <c:pt idx="1632">
                  <c:v>16303.781000000004</c:v>
                </c:pt>
                <c:pt idx="1633">
                  <c:v>16303.157000000001</c:v>
                </c:pt>
                <c:pt idx="1634">
                  <c:v>16303.010000000002</c:v>
                </c:pt>
                <c:pt idx="1635">
                  <c:v>16302.23000000001</c:v>
                </c:pt>
                <c:pt idx="1636">
                  <c:v>16300.455999999973</c:v>
                </c:pt>
                <c:pt idx="1637">
                  <c:v>16298.631000000008</c:v>
                </c:pt>
                <c:pt idx="1638">
                  <c:v>16289.756999999983</c:v>
                </c:pt>
                <c:pt idx="1639">
                  <c:v>16289.041999999989</c:v>
                </c:pt>
                <c:pt idx="1640">
                  <c:v>16286.306999999979</c:v>
                </c:pt>
                <c:pt idx="1641">
                  <c:v>16280.38599999998</c:v>
                </c:pt>
                <c:pt idx="1642">
                  <c:v>16276.887999999979</c:v>
                </c:pt>
                <c:pt idx="1643">
                  <c:v>16262.473999999986</c:v>
                </c:pt>
                <c:pt idx="1644">
                  <c:v>16261.510000000002</c:v>
                </c:pt>
                <c:pt idx="1645">
                  <c:v>16248.152000000002</c:v>
                </c:pt>
                <c:pt idx="1646">
                  <c:v>16246.824000000002</c:v>
                </c:pt>
                <c:pt idx="1647">
                  <c:v>16234.352999999981</c:v>
                </c:pt>
                <c:pt idx="1648">
                  <c:v>16227.56</c:v>
                </c:pt>
                <c:pt idx="1649">
                  <c:v>16222.741000000013</c:v>
                </c:pt>
                <c:pt idx="1650">
                  <c:v>16222.454</c:v>
                </c:pt>
                <c:pt idx="1651">
                  <c:v>16221.691999999988</c:v>
                </c:pt>
                <c:pt idx="1652">
                  <c:v>16219.161000000002</c:v>
                </c:pt>
                <c:pt idx="1653">
                  <c:v>16212.018</c:v>
                </c:pt>
                <c:pt idx="1654">
                  <c:v>16210.527999999986</c:v>
                </c:pt>
                <c:pt idx="1655">
                  <c:v>16208.906999999981</c:v>
                </c:pt>
                <c:pt idx="1656">
                  <c:v>16208.874</c:v>
                </c:pt>
                <c:pt idx="1657">
                  <c:v>16199.889000000001</c:v>
                </c:pt>
                <c:pt idx="1658">
                  <c:v>16192.152</c:v>
                </c:pt>
                <c:pt idx="1659">
                  <c:v>16188.532999999989</c:v>
                </c:pt>
                <c:pt idx="1660">
                  <c:v>16154.715</c:v>
                </c:pt>
                <c:pt idx="1661">
                  <c:v>16149.206000000002</c:v>
                </c:pt>
                <c:pt idx="1662">
                  <c:v>16139.197999999988</c:v>
                </c:pt>
                <c:pt idx="1663">
                  <c:v>16136.099</c:v>
                </c:pt>
                <c:pt idx="1664">
                  <c:v>16126.486000000001</c:v>
                </c:pt>
                <c:pt idx="1665">
                  <c:v>16125.743000000011</c:v>
                </c:pt>
                <c:pt idx="1666">
                  <c:v>16125.55599999998</c:v>
                </c:pt>
                <c:pt idx="1667">
                  <c:v>16123.227000000004</c:v>
                </c:pt>
                <c:pt idx="1668">
                  <c:v>16115.932000000004</c:v>
                </c:pt>
                <c:pt idx="1669">
                  <c:v>16115.165999999981</c:v>
                </c:pt>
                <c:pt idx="1670">
                  <c:v>16107.157000000001</c:v>
                </c:pt>
                <c:pt idx="1671">
                  <c:v>16106.727999999988</c:v>
                </c:pt>
                <c:pt idx="1672">
                  <c:v>16103.005000000003</c:v>
                </c:pt>
                <c:pt idx="1673">
                  <c:v>16101.153</c:v>
                </c:pt>
                <c:pt idx="1674">
                  <c:v>16098.543000000012</c:v>
                </c:pt>
                <c:pt idx="1675">
                  <c:v>16097.323999999988</c:v>
                </c:pt>
                <c:pt idx="1676">
                  <c:v>16086.851000000001</c:v>
                </c:pt>
                <c:pt idx="1677">
                  <c:v>16086.124000000011</c:v>
                </c:pt>
                <c:pt idx="1678">
                  <c:v>16083.467000000001</c:v>
                </c:pt>
                <c:pt idx="1679">
                  <c:v>16079.804</c:v>
                </c:pt>
                <c:pt idx="1680">
                  <c:v>16073.68</c:v>
                </c:pt>
                <c:pt idx="1681">
                  <c:v>16065.947000000002</c:v>
                </c:pt>
                <c:pt idx="1682">
                  <c:v>16064.793000000011</c:v>
                </c:pt>
                <c:pt idx="1683">
                  <c:v>16063.656999999981</c:v>
                </c:pt>
                <c:pt idx="1684">
                  <c:v>16062.31</c:v>
                </c:pt>
                <c:pt idx="1685">
                  <c:v>16060.208000000002</c:v>
                </c:pt>
                <c:pt idx="1686">
                  <c:v>16056.584999999988</c:v>
                </c:pt>
                <c:pt idx="1687">
                  <c:v>16054.722999999993</c:v>
                </c:pt>
                <c:pt idx="1688">
                  <c:v>16045.088999999984</c:v>
                </c:pt>
                <c:pt idx="1689">
                  <c:v>16035.69</c:v>
                </c:pt>
                <c:pt idx="1690">
                  <c:v>16025.617</c:v>
                </c:pt>
                <c:pt idx="1691">
                  <c:v>16024.95699999998</c:v>
                </c:pt>
                <c:pt idx="1692">
                  <c:v>16012.458000000001</c:v>
                </c:pt>
                <c:pt idx="1693">
                  <c:v>16008.382000000001</c:v>
                </c:pt>
                <c:pt idx="1694">
                  <c:v>16002.478000000001</c:v>
                </c:pt>
                <c:pt idx="1695">
                  <c:v>16001.503999999988</c:v>
                </c:pt>
                <c:pt idx="1696">
                  <c:v>15984.171</c:v>
                </c:pt>
                <c:pt idx="1697">
                  <c:v>15984.131000000008</c:v>
                </c:pt>
                <c:pt idx="1698">
                  <c:v>15981.474999999989</c:v>
                </c:pt>
                <c:pt idx="1699">
                  <c:v>15975.401</c:v>
                </c:pt>
                <c:pt idx="1700">
                  <c:v>15961.128000000002</c:v>
                </c:pt>
                <c:pt idx="1701">
                  <c:v>15959.985000000001</c:v>
                </c:pt>
                <c:pt idx="1702">
                  <c:v>15954.526000000002</c:v>
                </c:pt>
                <c:pt idx="1703">
                  <c:v>15954.057999999981</c:v>
                </c:pt>
                <c:pt idx="1704">
                  <c:v>15944.744000000013</c:v>
                </c:pt>
                <c:pt idx="1705">
                  <c:v>15943.417000000001</c:v>
                </c:pt>
                <c:pt idx="1706">
                  <c:v>15942.349999999989</c:v>
                </c:pt>
                <c:pt idx="1707">
                  <c:v>15930.25</c:v>
                </c:pt>
                <c:pt idx="1708">
                  <c:v>15923.29200000001</c:v>
                </c:pt>
                <c:pt idx="1709">
                  <c:v>15921.234000000013</c:v>
                </c:pt>
                <c:pt idx="1710">
                  <c:v>15914.543999999993</c:v>
                </c:pt>
                <c:pt idx="1711">
                  <c:v>15909.949000000002</c:v>
                </c:pt>
                <c:pt idx="1712">
                  <c:v>15907.602999999986</c:v>
                </c:pt>
                <c:pt idx="1713">
                  <c:v>15893.752</c:v>
                </c:pt>
                <c:pt idx="1714">
                  <c:v>15890.133000000011</c:v>
                </c:pt>
                <c:pt idx="1715">
                  <c:v>15887.288</c:v>
                </c:pt>
                <c:pt idx="1716">
                  <c:v>15883.393</c:v>
                </c:pt>
                <c:pt idx="1717">
                  <c:v>15882.346</c:v>
                </c:pt>
                <c:pt idx="1718">
                  <c:v>15871.573</c:v>
                </c:pt>
                <c:pt idx="1719">
                  <c:v>15861.31</c:v>
                </c:pt>
                <c:pt idx="1720">
                  <c:v>15859.819000000001</c:v>
                </c:pt>
                <c:pt idx="1721">
                  <c:v>15857.564999999986</c:v>
                </c:pt>
                <c:pt idx="1722">
                  <c:v>15853.02</c:v>
                </c:pt>
                <c:pt idx="1723">
                  <c:v>15851.924000000006</c:v>
                </c:pt>
                <c:pt idx="1724">
                  <c:v>15851.387000000001</c:v>
                </c:pt>
                <c:pt idx="1725">
                  <c:v>15851.076000000001</c:v>
                </c:pt>
                <c:pt idx="1726">
                  <c:v>15831.253000000002</c:v>
                </c:pt>
                <c:pt idx="1727">
                  <c:v>15828.087</c:v>
                </c:pt>
                <c:pt idx="1728">
                  <c:v>15825.986999999981</c:v>
                </c:pt>
                <c:pt idx="1729">
                  <c:v>15820.094999999988</c:v>
                </c:pt>
                <c:pt idx="1730">
                  <c:v>15819.266</c:v>
                </c:pt>
                <c:pt idx="1731">
                  <c:v>15817.012999999988</c:v>
                </c:pt>
                <c:pt idx="1732">
                  <c:v>15816.725</c:v>
                </c:pt>
                <c:pt idx="1733">
                  <c:v>15815.443000000008</c:v>
                </c:pt>
                <c:pt idx="1734">
                  <c:v>15810.946999999986</c:v>
                </c:pt>
                <c:pt idx="1735">
                  <c:v>15808.151667</c:v>
                </c:pt>
                <c:pt idx="1736">
                  <c:v>15800.30599999998</c:v>
                </c:pt>
                <c:pt idx="1737">
                  <c:v>15799.824999999988</c:v>
                </c:pt>
                <c:pt idx="1738">
                  <c:v>15798.501999999988</c:v>
                </c:pt>
                <c:pt idx="1739">
                  <c:v>15795.289000000002</c:v>
                </c:pt>
                <c:pt idx="1740">
                  <c:v>15795.113000000008</c:v>
                </c:pt>
                <c:pt idx="1741">
                  <c:v>15792.407999999983</c:v>
                </c:pt>
                <c:pt idx="1742">
                  <c:v>15788.364999999985</c:v>
                </c:pt>
                <c:pt idx="1743">
                  <c:v>15784.534444000014</c:v>
                </c:pt>
                <c:pt idx="1744">
                  <c:v>15781.058999999981</c:v>
                </c:pt>
                <c:pt idx="1745">
                  <c:v>15776.928</c:v>
                </c:pt>
                <c:pt idx="1746">
                  <c:v>15774.936</c:v>
                </c:pt>
                <c:pt idx="1747">
                  <c:v>15766.991999999986</c:v>
                </c:pt>
                <c:pt idx="1748">
                  <c:v>15765.175000000001</c:v>
                </c:pt>
                <c:pt idx="1749">
                  <c:v>15761.213000000011</c:v>
                </c:pt>
                <c:pt idx="1750">
                  <c:v>15756.326999999981</c:v>
                </c:pt>
                <c:pt idx="1751">
                  <c:v>15754.883999999985</c:v>
                </c:pt>
                <c:pt idx="1752">
                  <c:v>15753.627</c:v>
                </c:pt>
                <c:pt idx="1753">
                  <c:v>15734.981000000002</c:v>
                </c:pt>
                <c:pt idx="1754">
                  <c:v>15729.05599999998</c:v>
                </c:pt>
                <c:pt idx="1755">
                  <c:v>15728.011</c:v>
                </c:pt>
                <c:pt idx="1756">
                  <c:v>15724.142000000011</c:v>
                </c:pt>
                <c:pt idx="1757">
                  <c:v>15723.187</c:v>
                </c:pt>
                <c:pt idx="1758">
                  <c:v>15722.206</c:v>
                </c:pt>
                <c:pt idx="1759">
                  <c:v>15710.588</c:v>
                </c:pt>
                <c:pt idx="1760">
                  <c:v>15706.703111000004</c:v>
                </c:pt>
                <c:pt idx="1761">
                  <c:v>15700.148999999989</c:v>
                </c:pt>
                <c:pt idx="1762">
                  <c:v>15684.241000000013</c:v>
                </c:pt>
                <c:pt idx="1763">
                  <c:v>15683.163999999988</c:v>
                </c:pt>
                <c:pt idx="1764">
                  <c:v>15668.541000000008</c:v>
                </c:pt>
                <c:pt idx="1765">
                  <c:v>15665.067999999981</c:v>
                </c:pt>
                <c:pt idx="1766">
                  <c:v>15653.423999999988</c:v>
                </c:pt>
                <c:pt idx="1767">
                  <c:v>15652.100999999988</c:v>
                </c:pt>
                <c:pt idx="1768">
                  <c:v>15645.674000000006</c:v>
                </c:pt>
                <c:pt idx="1769">
                  <c:v>15640.093000000004</c:v>
                </c:pt>
                <c:pt idx="1770">
                  <c:v>15635.969000000001</c:v>
                </c:pt>
                <c:pt idx="1771">
                  <c:v>15635.05</c:v>
                </c:pt>
                <c:pt idx="1772">
                  <c:v>15634.856999999978</c:v>
                </c:pt>
                <c:pt idx="1773">
                  <c:v>15634.063000000002</c:v>
                </c:pt>
                <c:pt idx="1774">
                  <c:v>15624.112999999987</c:v>
                </c:pt>
                <c:pt idx="1775">
                  <c:v>15619.759000000002</c:v>
                </c:pt>
                <c:pt idx="1776">
                  <c:v>15614.082999999988</c:v>
                </c:pt>
                <c:pt idx="1777">
                  <c:v>15600.228000000006</c:v>
                </c:pt>
                <c:pt idx="1778">
                  <c:v>15596.839000000002</c:v>
                </c:pt>
                <c:pt idx="1779">
                  <c:v>15584.998</c:v>
                </c:pt>
                <c:pt idx="1780">
                  <c:v>15583.971</c:v>
                </c:pt>
                <c:pt idx="1781">
                  <c:v>15580.628000000002</c:v>
                </c:pt>
                <c:pt idx="1782">
                  <c:v>15579.424000000006</c:v>
                </c:pt>
                <c:pt idx="1783">
                  <c:v>15579.065000000001</c:v>
                </c:pt>
                <c:pt idx="1784">
                  <c:v>15575.008000000002</c:v>
                </c:pt>
                <c:pt idx="1785">
                  <c:v>15565.616</c:v>
                </c:pt>
                <c:pt idx="1786">
                  <c:v>15562.738999999989</c:v>
                </c:pt>
                <c:pt idx="1787">
                  <c:v>15562.404000000002</c:v>
                </c:pt>
                <c:pt idx="1788">
                  <c:v>15555.734999999999</c:v>
                </c:pt>
                <c:pt idx="1789">
                  <c:v>15546.482</c:v>
                </c:pt>
                <c:pt idx="1790">
                  <c:v>15541.663999999988</c:v>
                </c:pt>
                <c:pt idx="1791">
                  <c:v>15540.396000000001</c:v>
                </c:pt>
                <c:pt idx="1792">
                  <c:v>15534.874999999987</c:v>
                </c:pt>
                <c:pt idx="1793">
                  <c:v>15527.864000000001</c:v>
                </c:pt>
                <c:pt idx="1794">
                  <c:v>15519.425999999983</c:v>
                </c:pt>
                <c:pt idx="1795">
                  <c:v>15515.008000000002</c:v>
                </c:pt>
                <c:pt idx="1796">
                  <c:v>15504.284999999993</c:v>
                </c:pt>
                <c:pt idx="1797">
                  <c:v>15500.18744500001</c:v>
                </c:pt>
                <c:pt idx="1798">
                  <c:v>15499.791999999989</c:v>
                </c:pt>
                <c:pt idx="1799">
                  <c:v>15498.980000000001</c:v>
                </c:pt>
                <c:pt idx="1800">
                  <c:v>15495.44400000001</c:v>
                </c:pt>
                <c:pt idx="1801">
                  <c:v>15493.363000000001</c:v>
                </c:pt>
                <c:pt idx="1802">
                  <c:v>15489.754999999988</c:v>
                </c:pt>
                <c:pt idx="1803">
                  <c:v>15477.800000000001</c:v>
                </c:pt>
                <c:pt idx="1804">
                  <c:v>15475.546</c:v>
                </c:pt>
                <c:pt idx="1805">
                  <c:v>15467.809000000001</c:v>
                </c:pt>
                <c:pt idx="1806">
                  <c:v>15465.816000000001</c:v>
                </c:pt>
                <c:pt idx="1807">
                  <c:v>15464.919999999986</c:v>
                </c:pt>
                <c:pt idx="1808">
                  <c:v>15458.537</c:v>
                </c:pt>
                <c:pt idx="1809">
                  <c:v>15457.220000000008</c:v>
                </c:pt>
                <c:pt idx="1810">
                  <c:v>15453.974999999989</c:v>
                </c:pt>
                <c:pt idx="1811">
                  <c:v>15452.718000000004</c:v>
                </c:pt>
                <c:pt idx="1812">
                  <c:v>15446.73000000001</c:v>
                </c:pt>
                <c:pt idx="1813">
                  <c:v>15445.374000000002</c:v>
                </c:pt>
                <c:pt idx="1814">
                  <c:v>15438.055999999984</c:v>
                </c:pt>
                <c:pt idx="1815">
                  <c:v>15429.021999999988</c:v>
                </c:pt>
                <c:pt idx="1816">
                  <c:v>15427.081</c:v>
                </c:pt>
                <c:pt idx="1817">
                  <c:v>15413.722000000011</c:v>
                </c:pt>
                <c:pt idx="1818">
                  <c:v>15411.929</c:v>
                </c:pt>
                <c:pt idx="1819">
                  <c:v>15409.065999999979</c:v>
                </c:pt>
                <c:pt idx="1820">
                  <c:v>15406.777000000002</c:v>
                </c:pt>
                <c:pt idx="1821">
                  <c:v>15400.615000000002</c:v>
                </c:pt>
                <c:pt idx="1822">
                  <c:v>15386.633999999995</c:v>
                </c:pt>
                <c:pt idx="1823">
                  <c:v>15374.937000000002</c:v>
                </c:pt>
                <c:pt idx="1824">
                  <c:v>15370.050000000001</c:v>
                </c:pt>
                <c:pt idx="1825">
                  <c:v>15367.555999999977</c:v>
                </c:pt>
                <c:pt idx="1826">
                  <c:v>15355.902999999986</c:v>
                </c:pt>
                <c:pt idx="1827">
                  <c:v>15348.424000000006</c:v>
                </c:pt>
                <c:pt idx="1828">
                  <c:v>15345.716</c:v>
                </c:pt>
                <c:pt idx="1829">
                  <c:v>15344.968999999981</c:v>
                </c:pt>
                <c:pt idx="1830">
                  <c:v>15343.420999999986</c:v>
                </c:pt>
                <c:pt idx="1831">
                  <c:v>15337.77400000001</c:v>
                </c:pt>
                <c:pt idx="1832">
                  <c:v>15336.199999999988</c:v>
                </c:pt>
                <c:pt idx="1833">
                  <c:v>15334.775999999983</c:v>
                </c:pt>
                <c:pt idx="1834">
                  <c:v>15325.003999999988</c:v>
                </c:pt>
                <c:pt idx="1835">
                  <c:v>15323.835999999981</c:v>
                </c:pt>
                <c:pt idx="1836">
                  <c:v>15321.298000000004</c:v>
                </c:pt>
                <c:pt idx="1837">
                  <c:v>15321.216</c:v>
                </c:pt>
                <c:pt idx="1838">
                  <c:v>15316.661</c:v>
                </c:pt>
                <c:pt idx="1839">
                  <c:v>15303.447999999988</c:v>
                </c:pt>
                <c:pt idx="1840">
                  <c:v>15298.55</c:v>
                </c:pt>
                <c:pt idx="1841">
                  <c:v>15295.895110999985</c:v>
                </c:pt>
                <c:pt idx="1842">
                  <c:v>15284.301000000001</c:v>
                </c:pt>
                <c:pt idx="1843">
                  <c:v>15283.854000000001</c:v>
                </c:pt>
                <c:pt idx="1844">
                  <c:v>15270.932000000004</c:v>
                </c:pt>
                <c:pt idx="1845">
                  <c:v>15268.418</c:v>
                </c:pt>
                <c:pt idx="1846">
                  <c:v>15265.058000000001</c:v>
                </c:pt>
                <c:pt idx="1847">
                  <c:v>15255.123000000011</c:v>
                </c:pt>
                <c:pt idx="1848">
                  <c:v>15249.314</c:v>
                </c:pt>
                <c:pt idx="1849">
                  <c:v>15240.539999999988</c:v>
                </c:pt>
                <c:pt idx="1850">
                  <c:v>15235.304999999988</c:v>
                </c:pt>
                <c:pt idx="1851">
                  <c:v>15230.920000000002</c:v>
                </c:pt>
                <c:pt idx="1852">
                  <c:v>15225.628000000002</c:v>
                </c:pt>
                <c:pt idx="1853">
                  <c:v>15221.652</c:v>
                </c:pt>
                <c:pt idx="1854">
                  <c:v>15213.905000000001</c:v>
                </c:pt>
                <c:pt idx="1855">
                  <c:v>15205.740000000013</c:v>
                </c:pt>
                <c:pt idx="1856">
                  <c:v>15202.91</c:v>
                </c:pt>
                <c:pt idx="1857">
                  <c:v>15202.161000000002</c:v>
                </c:pt>
                <c:pt idx="1858">
                  <c:v>15192.713000000011</c:v>
                </c:pt>
                <c:pt idx="1859">
                  <c:v>15182.037999999988</c:v>
                </c:pt>
                <c:pt idx="1860">
                  <c:v>15180.666999999983</c:v>
                </c:pt>
                <c:pt idx="1861">
                  <c:v>15179.357999999978</c:v>
                </c:pt>
                <c:pt idx="1862">
                  <c:v>15176.349999999988</c:v>
                </c:pt>
                <c:pt idx="1863">
                  <c:v>15155.820999999984</c:v>
                </c:pt>
                <c:pt idx="1864">
                  <c:v>15139.871000000003</c:v>
                </c:pt>
                <c:pt idx="1865">
                  <c:v>15137.439722000006</c:v>
                </c:pt>
                <c:pt idx="1866">
                  <c:v>15127.278000000002</c:v>
                </c:pt>
                <c:pt idx="1867">
                  <c:v>15124.53</c:v>
                </c:pt>
                <c:pt idx="1868">
                  <c:v>15115.728999999988</c:v>
                </c:pt>
                <c:pt idx="1869">
                  <c:v>15109.352000000001</c:v>
                </c:pt>
                <c:pt idx="1870">
                  <c:v>15106.21200000001</c:v>
                </c:pt>
                <c:pt idx="1871">
                  <c:v>15103.474999999989</c:v>
                </c:pt>
                <c:pt idx="1872">
                  <c:v>15100.978999999981</c:v>
                </c:pt>
                <c:pt idx="1873">
                  <c:v>15100.560000000001</c:v>
                </c:pt>
                <c:pt idx="1874">
                  <c:v>15097.348999999986</c:v>
                </c:pt>
                <c:pt idx="1875">
                  <c:v>15096.728000000006</c:v>
                </c:pt>
                <c:pt idx="1876">
                  <c:v>15094.757000000001</c:v>
                </c:pt>
                <c:pt idx="1877">
                  <c:v>15081.80599999998</c:v>
                </c:pt>
                <c:pt idx="1878">
                  <c:v>15074.07</c:v>
                </c:pt>
                <c:pt idx="1879">
                  <c:v>15068.82</c:v>
                </c:pt>
                <c:pt idx="1880">
                  <c:v>15061.148999999989</c:v>
                </c:pt>
                <c:pt idx="1881">
                  <c:v>15058.254000000004</c:v>
                </c:pt>
                <c:pt idx="1882">
                  <c:v>15047.448999999988</c:v>
                </c:pt>
                <c:pt idx="1883">
                  <c:v>15039.018</c:v>
                </c:pt>
                <c:pt idx="1884">
                  <c:v>15007.414999999986</c:v>
                </c:pt>
                <c:pt idx="1885">
                  <c:v>15006.643000000011</c:v>
                </c:pt>
                <c:pt idx="1886">
                  <c:v>15000.117</c:v>
                </c:pt>
                <c:pt idx="1887">
                  <c:v>14998.152</c:v>
                </c:pt>
                <c:pt idx="1888">
                  <c:v>14991.434723</c:v>
                </c:pt>
                <c:pt idx="1889">
                  <c:v>14990.192999999988</c:v>
                </c:pt>
                <c:pt idx="1890">
                  <c:v>14985.865999999973</c:v>
                </c:pt>
                <c:pt idx="1891">
                  <c:v>14981.583000000002</c:v>
                </c:pt>
                <c:pt idx="1892">
                  <c:v>14975.532000000008</c:v>
                </c:pt>
                <c:pt idx="1893">
                  <c:v>14975.169</c:v>
                </c:pt>
                <c:pt idx="1894">
                  <c:v>14971.109000000002</c:v>
                </c:pt>
                <c:pt idx="1895">
                  <c:v>14968.484</c:v>
                </c:pt>
                <c:pt idx="1896">
                  <c:v>14963.714000000013</c:v>
                </c:pt>
                <c:pt idx="1897">
                  <c:v>14963.251</c:v>
                </c:pt>
                <c:pt idx="1898">
                  <c:v>14958.231000000011</c:v>
                </c:pt>
                <c:pt idx="1899">
                  <c:v>14957.02400000001</c:v>
                </c:pt>
                <c:pt idx="1900">
                  <c:v>14956.29</c:v>
                </c:pt>
                <c:pt idx="1901">
                  <c:v>14954.293000000011</c:v>
                </c:pt>
                <c:pt idx="1902">
                  <c:v>14953.726999999988</c:v>
                </c:pt>
                <c:pt idx="1903">
                  <c:v>14949.08</c:v>
                </c:pt>
                <c:pt idx="1904">
                  <c:v>14943.393999999986</c:v>
                </c:pt>
                <c:pt idx="1905">
                  <c:v>14938.18</c:v>
                </c:pt>
                <c:pt idx="1906">
                  <c:v>14926.831</c:v>
                </c:pt>
                <c:pt idx="1907">
                  <c:v>14926.285</c:v>
                </c:pt>
                <c:pt idx="1908">
                  <c:v>14924.169</c:v>
                </c:pt>
                <c:pt idx="1909">
                  <c:v>14923.720000000008</c:v>
                </c:pt>
                <c:pt idx="1910">
                  <c:v>14919.424000000006</c:v>
                </c:pt>
                <c:pt idx="1911">
                  <c:v>14914.479000000001</c:v>
                </c:pt>
                <c:pt idx="1912">
                  <c:v>14901.907000000001</c:v>
                </c:pt>
                <c:pt idx="1913">
                  <c:v>14899.741000000013</c:v>
                </c:pt>
                <c:pt idx="1914">
                  <c:v>14896.005000000001</c:v>
                </c:pt>
                <c:pt idx="1915">
                  <c:v>14894.808999999981</c:v>
                </c:pt>
                <c:pt idx="1916">
                  <c:v>14894.279</c:v>
                </c:pt>
                <c:pt idx="1917">
                  <c:v>14875.129000000004</c:v>
                </c:pt>
                <c:pt idx="1918">
                  <c:v>14874.173999999988</c:v>
                </c:pt>
                <c:pt idx="1919">
                  <c:v>14870.856999999978</c:v>
                </c:pt>
                <c:pt idx="1920">
                  <c:v>14868.232000000013</c:v>
                </c:pt>
                <c:pt idx="1921">
                  <c:v>14866.898999999983</c:v>
                </c:pt>
                <c:pt idx="1922">
                  <c:v>14866.139999999989</c:v>
                </c:pt>
                <c:pt idx="1923">
                  <c:v>14860.740000000013</c:v>
                </c:pt>
                <c:pt idx="1924">
                  <c:v>14846.544999999995</c:v>
                </c:pt>
                <c:pt idx="1925">
                  <c:v>14838.526000000002</c:v>
                </c:pt>
                <c:pt idx="1926">
                  <c:v>14822.259</c:v>
                </c:pt>
                <c:pt idx="1927">
                  <c:v>14819.672722999998</c:v>
                </c:pt>
                <c:pt idx="1928">
                  <c:v>14819.537999999988</c:v>
                </c:pt>
                <c:pt idx="1929">
                  <c:v>14816.153999999988</c:v>
                </c:pt>
                <c:pt idx="1930">
                  <c:v>14809.387999999979</c:v>
                </c:pt>
                <c:pt idx="1931">
                  <c:v>14800.122000000008</c:v>
                </c:pt>
                <c:pt idx="1932">
                  <c:v>14797.538</c:v>
                </c:pt>
                <c:pt idx="1933">
                  <c:v>14790.215999999988</c:v>
                </c:pt>
                <c:pt idx="1934">
                  <c:v>14789.942000000006</c:v>
                </c:pt>
                <c:pt idx="1935">
                  <c:v>14789.544000000011</c:v>
                </c:pt>
                <c:pt idx="1936">
                  <c:v>14784.062999999986</c:v>
                </c:pt>
                <c:pt idx="1937">
                  <c:v>14783.641000000011</c:v>
                </c:pt>
                <c:pt idx="1938">
                  <c:v>14773.532000000008</c:v>
                </c:pt>
                <c:pt idx="1939">
                  <c:v>14766.548000000004</c:v>
                </c:pt>
                <c:pt idx="1940">
                  <c:v>14764.169000000002</c:v>
                </c:pt>
                <c:pt idx="1941">
                  <c:v>14761.779</c:v>
                </c:pt>
                <c:pt idx="1942">
                  <c:v>14755.924000000006</c:v>
                </c:pt>
                <c:pt idx="1943">
                  <c:v>14752.597000000002</c:v>
                </c:pt>
                <c:pt idx="1944">
                  <c:v>14743.094000000006</c:v>
                </c:pt>
                <c:pt idx="1945">
                  <c:v>14736.897000000001</c:v>
                </c:pt>
                <c:pt idx="1946">
                  <c:v>14735.220000000008</c:v>
                </c:pt>
                <c:pt idx="1947">
                  <c:v>14725.752999999988</c:v>
                </c:pt>
                <c:pt idx="1948">
                  <c:v>14724.460999999981</c:v>
                </c:pt>
                <c:pt idx="1949">
                  <c:v>14723.057999999981</c:v>
                </c:pt>
                <c:pt idx="1950">
                  <c:v>14721.35899999998</c:v>
                </c:pt>
                <c:pt idx="1951">
                  <c:v>14716.837</c:v>
                </c:pt>
                <c:pt idx="1952">
                  <c:v>14715.949000000002</c:v>
                </c:pt>
                <c:pt idx="1953">
                  <c:v>14711.282999999989</c:v>
                </c:pt>
                <c:pt idx="1954">
                  <c:v>14707.105</c:v>
                </c:pt>
                <c:pt idx="1955">
                  <c:v>14706.310999999983</c:v>
                </c:pt>
                <c:pt idx="1956">
                  <c:v>14704.618</c:v>
                </c:pt>
                <c:pt idx="1957">
                  <c:v>14701.819000000001</c:v>
                </c:pt>
                <c:pt idx="1958">
                  <c:v>14697.241000000011</c:v>
                </c:pt>
                <c:pt idx="1959">
                  <c:v>14690.745000000004</c:v>
                </c:pt>
                <c:pt idx="1960">
                  <c:v>14676.224000000011</c:v>
                </c:pt>
                <c:pt idx="1961">
                  <c:v>14674.543000000012</c:v>
                </c:pt>
                <c:pt idx="1962">
                  <c:v>14668.439</c:v>
                </c:pt>
                <c:pt idx="1963">
                  <c:v>14665.909999999983</c:v>
                </c:pt>
                <c:pt idx="1964">
                  <c:v>14665.564000000002</c:v>
                </c:pt>
                <c:pt idx="1965">
                  <c:v>14655.2</c:v>
                </c:pt>
                <c:pt idx="1966">
                  <c:v>14649.585999999981</c:v>
                </c:pt>
                <c:pt idx="1967">
                  <c:v>14645.957999999979</c:v>
                </c:pt>
                <c:pt idx="1968">
                  <c:v>14644.46599999998</c:v>
                </c:pt>
                <c:pt idx="1969">
                  <c:v>14643.633000000011</c:v>
                </c:pt>
                <c:pt idx="1970">
                  <c:v>14639.021999999988</c:v>
                </c:pt>
                <c:pt idx="1971">
                  <c:v>14636.360999999979</c:v>
                </c:pt>
                <c:pt idx="1972">
                  <c:v>14635.142000000013</c:v>
                </c:pt>
                <c:pt idx="1973">
                  <c:v>14621.317999999981</c:v>
                </c:pt>
                <c:pt idx="1974">
                  <c:v>14618.559000000001</c:v>
                </c:pt>
                <c:pt idx="1975">
                  <c:v>14608.906000000001</c:v>
                </c:pt>
                <c:pt idx="1976">
                  <c:v>14608.688999999986</c:v>
                </c:pt>
                <c:pt idx="1977">
                  <c:v>14608.447</c:v>
                </c:pt>
                <c:pt idx="1978">
                  <c:v>14601.839</c:v>
                </c:pt>
                <c:pt idx="1979">
                  <c:v>14599.894166</c:v>
                </c:pt>
                <c:pt idx="1980">
                  <c:v>14597.381000000001</c:v>
                </c:pt>
                <c:pt idx="1981">
                  <c:v>14591.727000000004</c:v>
                </c:pt>
                <c:pt idx="1982">
                  <c:v>14590.985999999979</c:v>
                </c:pt>
                <c:pt idx="1983">
                  <c:v>14587.142000000013</c:v>
                </c:pt>
                <c:pt idx="1984">
                  <c:v>14583.636999999988</c:v>
                </c:pt>
                <c:pt idx="1985">
                  <c:v>14582.296</c:v>
                </c:pt>
                <c:pt idx="1986">
                  <c:v>14573.636999999988</c:v>
                </c:pt>
                <c:pt idx="1987">
                  <c:v>14551.799000000006</c:v>
                </c:pt>
                <c:pt idx="1988">
                  <c:v>14551.387000000001</c:v>
                </c:pt>
                <c:pt idx="1989">
                  <c:v>14549.729000000008</c:v>
                </c:pt>
                <c:pt idx="1990">
                  <c:v>14543.727999999988</c:v>
                </c:pt>
                <c:pt idx="1991">
                  <c:v>14539.173999999988</c:v>
                </c:pt>
                <c:pt idx="1992">
                  <c:v>14536.913</c:v>
                </c:pt>
                <c:pt idx="1993">
                  <c:v>14525.84</c:v>
                </c:pt>
                <c:pt idx="1994">
                  <c:v>14520.624000000013</c:v>
                </c:pt>
                <c:pt idx="1995">
                  <c:v>14518.912999999988</c:v>
                </c:pt>
                <c:pt idx="1996">
                  <c:v>14513.903</c:v>
                </c:pt>
                <c:pt idx="1997">
                  <c:v>14507.311000000002</c:v>
                </c:pt>
                <c:pt idx="1998">
                  <c:v>14503.517</c:v>
                </c:pt>
                <c:pt idx="1999">
                  <c:v>14502.400000000001</c:v>
                </c:pt>
                <c:pt idx="2000">
                  <c:v>14501.179</c:v>
                </c:pt>
                <c:pt idx="2001">
                  <c:v>14499.692999999987</c:v>
                </c:pt>
                <c:pt idx="2002">
                  <c:v>14489.93</c:v>
                </c:pt>
                <c:pt idx="2003">
                  <c:v>14480.632000000011</c:v>
                </c:pt>
                <c:pt idx="2004">
                  <c:v>14472.471000000001</c:v>
                </c:pt>
                <c:pt idx="2005">
                  <c:v>14467.145999999988</c:v>
                </c:pt>
                <c:pt idx="2006">
                  <c:v>14464.617999999988</c:v>
                </c:pt>
                <c:pt idx="2007">
                  <c:v>14459.262999999988</c:v>
                </c:pt>
                <c:pt idx="2008">
                  <c:v>14453.411444000008</c:v>
                </c:pt>
                <c:pt idx="2009">
                  <c:v>14449.718000000004</c:v>
                </c:pt>
                <c:pt idx="2010">
                  <c:v>14445.962</c:v>
                </c:pt>
                <c:pt idx="2011">
                  <c:v>14442.384</c:v>
                </c:pt>
                <c:pt idx="2012">
                  <c:v>14441.491</c:v>
                </c:pt>
                <c:pt idx="2013">
                  <c:v>14436.789000000002</c:v>
                </c:pt>
                <c:pt idx="2014">
                  <c:v>14435.823</c:v>
                </c:pt>
                <c:pt idx="2015">
                  <c:v>14430.093999999988</c:v>
                </c:pt>
                <c:pt idx="2016">
                  <c:v>14428.876999999977</c:v>
                </c:pt>
                <c:pt idx="2017">
                  <c:v>14425.508</c:v>
                </c:pt>
                <c:pt idx="2018">
                  <c:v>14418.984999999986</c:v>
                </c:pt>
                <c:pt idx="2019">
                  <c:v>14418.666000000001</c:v>
                </c:pt>
                <c:pt idx="2020">
                  <c:v>14414.899999999983</c:v>
                </c:pt>
                <c:pt idx="2021">
                  <c:v>14407.643000000011</c:v>
                </c:pt>
                <c:pt idx="2022">
                  <c:v>14405.789000000002</c:v>
                </c:pt>
                <c:pt idx="2023">
                  <c:v>14404.267</c:v>
                </c:pt>
                <c:pt idx="2024">
                  <c:v>14400.557999999981</c:v>
                </c:pt>
                <c:pt idx="2025">
                  <c:v>14391.787</c:v>
                </c:pt>
                <c:pt idx="2026">
                  <c:v>14390.923999999988</c:v>
                </c:pt>
                <c:pt idx="2027">
                  <c:v>14390.897999999981</c:v>
                </c:pt>
                <c:pt idx="2028">
                  <c:v>14387.449000000002</c:v>
                </c:pt>
                <c:pt idx="2029">
                  <c:v>14382.682000000004</c:v>
                </c:pt>
                <c:pt idx="2030">
                  <c:v>14382.244999999999</c:v>
                </c:pt>
                <c:pt idx="2031">
                  <c:v>14382.136999999988</c:v>
                </c:pt>
                <c:pt idx="2032">
                  <c:v>14375.896000000001</c:v>
                </c:pt>
                <c:pt idx="2033">
                  <c:v>14374.398000000001</c:v>
                </c:pt>
                <c:pt idx="2034">
                  <c:v>14365.581</c:v>
                </c:pt>
                <c:pt idx="2035">
                  <c:v>14363.803999999986</c:v>
                </c:pt>
                <c:pt idx="2036">
                  <c:v>14346.588</c:v>
                </c:pt>
                <c:pt idx="2037">
                  <c:v>14345.693000000008</c:v>
                </c:pt>
                <c:pt idx="2038">
                  <c:v>14320.066999999981</c:v>
                </c:pt>
                <c:pt idx="2039">
                  <c:v>14317.585999999981</c:v>
                </c:pt>
                <c:pt idx="2040">
                  <c:v>14315.075999999981</c:v>
                </c:pt>
                <c:pt idx="2041">
                  <c:v>14309.325999999981</c:v>
                </c:pt>
                <c:pt idx="2042">
                  <c:v>14308.995999999981</c:v>
                </c:pt>
                <c:pt idx="2043">
                  <c:v>14303.69400000001</c:v>
                </c:pt>
                <c:pt idx="2044">
                  <c:v>14297.769999999988</c:v>
                </c:pt>
                <c:pt idx="2045">
                  <c:v>14288.843000000004</c:v>
                </c:pt>
                <c:pt idx="2046">
                  <c:v>14287.844999999988</c:v>
                </c:pt>
                <c:pt idx="2047">
                  <c:v>14286.727999999988</c:v>
                </c:pt>
                <c:pt idx="2048">
                  <c:v>14281.996999999981</c:v>
                </c:pt>
                <c:pt idx="2049">
                  <c:v>14281.118000000002</c:v>
                </c:pt>
                <c:pt idx="2050">
                  <c:v>14280.927000000001</c:v>
                </c:pt>
                <c:pt idx="2051">
                  <c:v>14280.548000000004</c:v>
                </c:pt>
                <c:pt idx="2052">
                  <c:v>14264.887000000001</c:v>
                </c:pt>
                <c:pt idx="2053">
                  <c:v>14263.413</c:v>
                </c:pt>
                <c:pt idx="2054">
                  <c:v>14259.541999999989</c:v>
                </c:pt>
                <c:pt idx="2055">
                  <c:v>14256.919999999986</c:v>
                </c:pt>
                <c:pt idx="2056">
                  <c:v>14243.264999999989</c:v>
                </c:pt>
                <c:pt idx="2057">
                  <c:v>14237.994000000002</c:v>
                </c:pt>
                <c:pt idx="2058">
                  <c:v>14228.459000000001</c:v>
                </c:pt>
                <c:pt idx="2059">
                  <c:v>14220.462</c:v>
                </c:pt>
                <c:pt idx="2060">
                  <c:v>14217.319000000001</c:v>
                </c:pt>
                <c:pt idx="2061">
                  <c:v>14216.650999999983</c:v>
                </c:pt>
                <c:pt idx="2062">
                  <c:v>14213.628999999988</c:v>
                </c:pt>
                <c:pt idx="2063">
                  <c:v>14213.459000000001</c:v>
                </c:pt>
                <c:pt idx="2064">
                  <c:v>14208.516</c:v>
                </c:pt>
                <c:pt idx="2065">
                  <c:v>14205.110000000002</c:v>
                </c:pt>
                <c:pt idx="2066">
                  <c:v>14199.771000000002</c:v>
                </c:pt>
                <c:pt idx="2067">
                  <c:v>14196.804999999988</c:v>
                </c:pt>
                <c:pt idx="2068">
                  <c:v>14190.886999999979</c:v>
                </c:pt>
                <c:pt idx="2069">
                  <c:v>14189.064</c:v>
                </c:pt>
                <c:pt idx="2070">
                  <c:v>14188.738999999989</c:v>
                </c:pt>
                <c:pt idx="2071">
                  <c:v>14186.713000000011</c:v>
                </c:pt>
                <c:pt idx="2072">
                  <c:v>14179.175999999983</c:v>
                </c:pt>
                <c:pt idx="2073">
                  <c:v>14171.102999999988</c:v>
                </c:pt>
                <c:pt idx="2074">
                  <c:v>14166.856999999982</c:v>
                </c:pt>
                <c:pt idx="2075">
                  <c:v>14166.511999999988</c:v>
                </c:pt>
                <c:pt idx="2076">
                  <c:v>14165.673999999988</c:v>
                </c:pt>
                <c:pt idx="2077">
                  <c:v>14158.383</c:v>
                </c:pt>
                <c:pt idx="2078">
                  <c:v>14152.371000000001</c:v>
                </c:pt>
                <c:pt idx="2079">
                  <c:v>14152.071</c:v>
                </c:pt>
                <c:pt idx="2080">
                  <c:v>14151.564</c:v>
                </c:pt>
                <c:pt idx="2081">
                  <c:v>14150.3</c:v>
                </c:pt>
                <c:pt idx="2082">
                  <c:v>14144.75</c:v>
                </c:pt>
                <c:pt idx="2083">
                  <c:v>14138.710000000006</c:v>
                </c:pt>
                <c:pt idx="2084">
                  <c:v>14133.850999999979</c:v>
                </c:pt>
                <c:pt idx="2085">
                  <c:v>14125.048999999988</c:v>
                </c:pt>
                <c:pt idx="2086">
                  <c:v>14112.373</c:v>
                </c:pt>
                <c:pt idx="2087">
                  <c:v>14111.969000000001</c:v>
                </c:pt>
                <c:pt idx="2088">
                  <c:v>14108.46599999998</c:v>
                </c:pt>
                <c:pt idx="2089">
                  <c:v>14107.369999999981</c:v>
                </c:pt>
                <c:pt idx="2090">
                  <c:v>14105.819</c:v>
                </c:pt>
                <c:pt idx="2091">
                  <c:v>14103.57</c:v>
                </c:pt>
                <c:pt idx="2092">
                  <c:v>14098.428</c:v>
                </c:pt>
                <c:pt idx="2093">
                  <c:v>14097.692999999988</c:v>
                </c:pt>
                <c:pt idx="2094">
                  <c:v>14089.938000000002</c:v>
                </c:pt>
                <c:pt idx="2095">
                  <c:v>14073.37699999998</c:v>
                </c:pt>
                <c:pt idx="2096">
                  <c:v>14071.886999999979</c:v>
                </c:pt>
                <c:pt idx="2097">
                  <c:v>14068.982000000002</c:v>
                </c:pt>
                <c:pt idx="2098">
                  <c:v>14064.521999999988</c:v>
                </c:pt>
                <c:pt idx="2099">
                  <c:v>14062.305999999977</c:v>
                </c:pt>
                <c:pt idx="2100">
                  <c:v>14059.859999999981</c:v>
                </c:pt>
                <c:pt idx="2101">
                  <c:v>14058.49</c:v>
                </c:pt>
                <c:pt idx="2102">
                  <c:v>14057.861000000001</c:v>
                </c:pt>
                <c:pt idx="2103">
                  <c:v>14056.776000000002</c:v>
                </c:pt>
                <c:pt idx="2104">
                  <c:v>14051.270999999988</c:v>
                </c:pt>
                <c:pt idx="2105">
                  <c:v>14051.210000000006</c:v>
                </c:pt>
                <c:pt idx="2106">
                  <c:v>14050.875999999978</c:v>
                </c:pt>
                <c:pt idx="2107">
                  <c:v>14044.688999999986</c:v>
                </c:pt>
                <c:pt idx="2108">
                  <c:v>14043.349999999988</c:v>
                </c:pt>
                <c:pt idx="2109">
                  <c:v>14042.663</c:v>
                </c:pt>
                <c:pt idx="2110">
                  <c:v>14027.627</c:v>
                </c:pt>
                <c:pt idx="2111">
                  <c:v>14025.803000000002</c:v>
                </c:pt>
                <c:pt idx="2112">
                  <c:v>14023.949000000002</c:v>
                </c:pt>
                <c:pt idx="2113">
                  <c:v>14021.626</c:v>
                </c:pt>
                <c:pt idx="2114">
                  <c:v>14019.563</c:v>
                </c:pt>
                <c:pt idx="2115">
                  <c:v>14018.376999999977</c:v>
                </c:pt>
                <c:pt idx="2116">
                  <c:v>14008.199000000002</c:v>
                </c:pt>
                <c:pt idx="2117">
                  <c:v>14006.969000000001</c:v>
                </c:pt>
                <c:pt idx="2118">
                  <c:v>14004.493</c:v>
                </c:pt>
                <c:pt idx="2119">
                  <c:v>14003.225999999988</c:v>
                </c:pt>
                <c:pt idx="2120">
                  <c:v>13994.252999999988</c:v>
                </c:pt>
                <c:pt idx="2121">
                  <c:v>13994.094999999988</c:v>
                </c:pt>
                <c:pt idx="2122">
                  <c:v>13986.914999999988</c:v>
                </c:pt>
                <c:pt idx="2123">
                  <c:v>13986.205</c:v>
                </c:pt>
                <c:pt idx="2124">
                  <c:v>13986.101999999988</c:v>
                </c:pt>
                <c:pt idx="2125">
                  <c:v>13978.771000000002</c:v>
                </c:pt>
                <c:pt idx="2126">
                  <c:v>13964.289000000002</c:v>
                </c:pt>
                <c:pt idx="2127">
                  <c:v>13962.293000000012</c:v>
                </c:pt>
                <c:pt idx="2128">
                  <c:v>13957.404</c:v>
                </c:pt>
                <c:pt idx="2129">
                  <c:v>13953.630999999988</c:v>
                </c:pt>
                <c:pt idx="2130">
                  <c:v>13950.406000000001</c:v>
                </c:pt>
                <c:pt idx="2131">
                  <c:v>13949.425999999981</c:v>
                </c:pt>
                <c:pt idx="2132">
                  <c:v>13945.986999999981</c:v>
                </c:pt>
                <c:pt idx="2133">
                  <c:v>13919.75</c:v>
                </c:pt>
                <c:pt idx="2134">
                  <c:v>13914.765000000001</c:v>
                </c:pt>
                <c:pt idx="2135">
                  <c:v>13908.888999999981</c:v>
                </c:pt>
                <c:pt idx="2136">
                  <c:v>13902.059000000001</c:v>
                </c:pt>
                <c:pt idx="2137">
                  <c:v>13898.588</c:v>
                </c:pt>
                <c:pt idx="2138">
                  <c:v>13897.493</c:v>
                </c:pt>
                <c:pt idx="2139">
                  <c:v>13894.186000000002</c:v>
                </c:pt>
                <c:pt idx="2140">
                  <c:v>13892.126</c:v>
                </c:pt>
                <c:pt idx="2141">
                  <c:v>13886.511999999988</c:v>
                </c:pt>
                <c:pt idx="2142">
                  <c:v>13882.363000000001</c:v>
                </c:pt>
                <c:pt idx="2143">
                  <c:v>13880.519999999988</c:v>
                </c:pt>
                <c:pt idx="2144">
                  <c:v>13880.398000000001</c:v>
                </c:pt>
                <c:pt idx="2145">
                  <c:v>13876.629000000004</c:v>
                </c:pt>
                <c:pt idx="2146">
                  <c:v>13876.502999999988</c:v>
                </c:pt>
                <c:pt idx="2147">
                  <c:v>13869.883</c:v>
                </c:pt>
                <c:pt idx="2148">
                  <c:v>13834.453999999983</c:v>
                </c:pt>
                <c:pt idx="2149">
                  <c:v>13831.660999999986</c:v>
                </c:pt>
                <c:pt idx="2150">
                  <c:v>13829.453</c:v>
                </c:pt>
                <c:pt idx="2151">
                  <c:v>13827.392999999985</c:v>
                </c:pt>
                <c:pt idx="2152">
                  <c:v>13821.526</c:v>
                </c:pt>
                <c:pt idx="2153">
                  <c:v>13816.326999999981</c:v>
                </c:pt>
                <c:pt idx="2154">
                  <c:v>13800.371999999981</c:v>
                </c:pt>
                <c:pt idx="2155">
                  <c:v>13794.651000000002</c:v>
                </c:pt>
                <c:pt idx="2156">
                  <c:v>13777.780000000002</c:v>
                </c:pt>
                <c:pt idx="2157">
                  <c:v>13772.502999999988</c:v>
                </c:pt>
                <c:pt idx="2158">
                  <c:v>13769.050000000001</c:v>
                </c:pt>
                <c:pt idx="2159">
                  <c:v>13759.949000000002</c:v>
                </c:pt>
                <c:pt idx="2160">
                  <c:v>13747.127999999988</c:v>
                </c:pt>
                <c:pt idx="2161">
                  <c:v>13745.698</c:v>
                </c:pt>
                <c:pt idx="2162">
                  <c:v>13735.651000000002</c:v>
                </c:pt>
                <c:pt idx="2163">
                  <c:v>13735.231000000013</c:v>
                </c:pt>
                <c:pt idx="2164">
                  <c:v>13732.698</c:v>
                </c:pt>
                <c:pt idx="2165">
                  <c:v>13731.386999999979</c:v>
                </c:pt>
                <c:pt idx="2166">
                  <c:v>13729.552</c:v>
                </c:pt>
                <c:pt idx="2167">
                  <c:v>13724.630000000006</c:v>
                </c:pt>
                <c:pt idx="2168">
                  <c:v>13724.451999999981</c:v>
                </c:pt>
                <c:pt idx="2169">
                  <c:v>13722.05</c:v>
                </c:pt>
                <c:pt idx="2170">
                  <c:v>13716.599</c:v>
                </c:pt>
                <c:pt idx="2171">
                  <c:v>13716.345000000001</c:v>
                </c:pt>
                <c:pt idx="2172">
                  <c:v>13711.738999999989</c:v>
                </c:pt>
                <c:pt idx="2173">
                  <c:v>13706.464</c:v>
                </c:pt>
                <c:pt idx="2174">
                  <c:v>13698.198999999988</c:v>
                </c:pt>
                <c:pt idx="2175">
                  <c:v>13688.41</c:v>
                </c:pt>
                <c:pt idx="2176">
                  <c:v>13687.253999999988</c:v>
                </c:pt>
                <c:pt idx="2177">
                  <c:v>13685.468000000001</c:v>
                </c:pt>
                <c:pt idx="2178">
                  <c:v>13684.375999999978</c:v>
                </c:pt>
                <c:pt idx="2179">
                  <c:v>13678.568000000003</c:v>
                </c:pt>
                <c:pt idx="2180">
                  <c:v>13678.238000000008</c:v>
                </c:pt>
                <c:pt idx="2181">
                  <c:v>13666.892</c:v>
                </c:pt>
                <c:pt idx="2182">
                  <c:v>13665.310000000001</c:v>
                </c:pt>
                <c:pt idx="2183">
                  <c:v>13664.596</c:v>
                </c:pt>
                <c:pt idx="2184">
                  <c:v>13659.976000000001</c:v>
                </c:pt>
                <c:pt idx="2185">
                  <c:v>13658.507</c:v>
                </c:pt>
                <c:pt idx="2186">
                  <c:v>13649.360999999979</c:v>
                </c:pt>
                <c:pt idx="2187">
                  <c:v>13648.878000000001</c:v>
                </c:pt>
                <c:pt idx="2188">
                  <c:v>13647.276</c:v>
                </c:pt>
                <c:pt idx="2189">
                  <c:v>13641.631000000008</c:v>
                </c:pt>
                <c:pt idx="2190">
                  <c:v>13640.740000000011</c:v>
                </c:pt>
                <c:pt idx="2191">
                  <c:v>13634.687999999986</c:v>
                </c:pt>
                <c:pt idx="2192">
                  <c:v>13629.236000000004</c:v>
                </c:pt>
                <c:pt idx="2193">
                  <c:v>13626.409</c:v>
                </c:pt>
                <c:pt idx="2194">
                  <c:v>13624.718999999988</c:v>
                </c:pt>
                <c:pt idx="2195">
                  <c:v>13607.517000000002</c:v>
                </c:pt>
                <c:pt idx="2196">
                  <c:v>13605.578</c:v>
                </c:pt>
                <c:pt idx="2197">
                  <c:v>13603.683000000006</c:v>
                </c:pt>
                <c:pt idx="2198">
                  <c:v>13603.485999999979</c:v>
                </c:pt>
                <c:pt idx="2199">
                  <c:v>13601.532000000008</c:v>
                </c:pt>
                <c:pt idx="2200">
                  <c:v>13600.865999999973</c:v>
                </c:pt>
                <c:pt idx="2201">
                  <c:v>13596.400000000001</c:v>
                </c:pt>
                <c:pt idx="2202">
                  <c:v>13594.261</c:v>
                </c:pt>
                <c:pt idx="2203">
                  <c:v>13583.54200000001</c:v>
                </c:pt>
                <c:pt idx="2204">
                  <c:v>13579.928</c:v>
                </c:pt>
                <c:pt idx="2205">
                  <c:v>13579.513999999988</c:v>
                </c:pt>
                <c:pt idx="2206">
                  <c:v>13579.38599999998</c:v>
                </c:pt>
                <c:pt idx="2207">
                  <c:v>13572.213000000012</c:v>
                </c:pt>
                <c:pt idx="2208">
                  <c:v>13560.748000000012</c:v>
                </c:pt>
                <c:pt idx="2209">
                  <c:v>13557.664999999988</c:v>
                </c:pt>
                <c:pt idx="2210">
                  <c:v>13554.012000000002</c:v>
                </c:pt>
                <c:pt idx="2211">
                  <c:v>13552.311</c:v>
                </c:pt>
                <c:pt idx="2212">
                  <c:v>13542.974</c:v>
                </c:pt>
                <c:pt idx="2213">
                  <c:v>13538.43</c:v>
                </c:pt>
                <c:pt idx="2214">
                  <c:v>13535.518000000002</c:v>
                </c:pt>
                <c:pt idx="2215">
                  <c:v>13531.433999999988</c:v>
                </c:pt>
                <c:pt idx="2216">
                  <c:v>13530.188999999986</c:v>
                </c:pt>
                <c:pt idx="2217">
                  <c:v>13524.523999999989</c:v>
                </c:pt>
                <c:pt idx="2218">
                  <c:v>13519.369999999981</c:v>
                </c:pt>
                <c:pt idx="2219">
                  <c:v>13518.761999999988</c:v>
                </c:pt>
                <c:pt idx="2220">
                  <c:v>13518.573</c:v>
                </c:pt>
                <c:pt idx="2221">
                  <c:v>13513.368999999979</c:v>
                </c:pt>
                <c:pt idx="2222">
                  <c:v>13505.118999999988</c:v>
                </c:pt>
                <c:pt idx="2223">
                  <c:v>13500.931999999988</c:v>
                </c:pt>
                <c:pt idx="2224">
                  <c:v>13495.009445000011</c:v>
                </c:pt>
                <c:pt idx="2225">
                  <c:v>13489.308999999981</c:v>
                </c:pt>
                <c:pt idx="2226">
                  <c:v>13476.169000000002</c:v>
                </c:pt>
                <c:pt idx="2227">
                  <c:v>13469.753999999988</c:v>
                </c:pt>
                <c:pt idx="2228">
                  <c:v>13465.869999999981</c:v>
                </c:pt>
                <c:pt idx="2229">
                  <c:v>13457.442999999988</c:v>
                </c:pt>
                <c:pt idx="2230">
                  <c:v>13454.771999999988</c:v>
                </c:pt>
                <c:pt idx="2231">
                  <c:v>13453.985999999979</c:v>
                </c:pt>
                <c:pt idx="2232">
                  <c:v>13453.210999999988</c:v>
                </c:pt>
                <c:pt idx="2233">
                  <c:v>13453.145</c:v>
                </c:pt>
                <c:pt idx="2234">
                  <c:v>13448.190999999988</c:v>
                </c:pt>
                <c:pt idx="2235">
                  <c:v>13443.333000000002</c:v>
                </c:pt>
                <c:pt idx="2236">
                  <c:v>13441.181999999988</c:v>
                </c:pt>
                <c:pt idx="2237">
                  <c:v>13439.927000000001</c:v>
                </c:pt>
                <c:pt idx="2238">
                  <c:v>13436.119999999988</c:v>
                </c:pt>
                <c:pt idx="2239">
                  <c:v>13430.46</c:v>
                </c:pt>
                <c:pt idx="2240">
                  <c:v>13429.374</c:v>
                </c:pt>
                <c:pt idx="2241">
                  <c:v>13418.119999999988</c:v>
                </c:pt>
                <c:pt idx="2242">
                  <c:v>13410.73000000001</c:v>
                </c:pt>
                <c:pt idx="2243">
                  <c:v>13410.729000000008</c:v>
                </c:pt>
                <c:pt idx="2244">
                  <c:v>13409.54</c:v>
                </c:pt>
                <c:pt idx="2245">
                  <c:v>13409.228999999988</c:v>
                </c:pt>
                <c:pt idx="2246">
                  <c:v>13407.710000000006</c:v>
                </c:pt>
                <c:pt idx="2247">
                  <c:v>13406.408000000001</c:v>
                </c:pt>
                <c:pt idx="2248">
                  <c:v>13394.083999999988</c:v>
                </c:pt>
                <c:pt idx="2249">
                  <c:v>13385.507000000001</c:v>
                </c:pt>
                <c:pt idx="2250">
                  <c:v>13384.990000000002</c:v>
                </c:pt>
                <c:pt idx="2251">
                  <c:v>13369.973999999986</c:v>
                </c:pt>
                <c:pt idx="2252">
                  <c:v>13366.247000000008</c:v>
                </c:pt>
                <c:pt idx="2253">
                  <c:v>13365.833999999988</c:v>
                </c:pt>
                <c:pt idx="2254">
                  <c:v>13358.145999999988</c:v>
                </c:pt>
                <c:pt idx="2255">
                  <c:v>13356.201999999988</c:v>
                </c:pt>
                <c:pt idx="2256">
                  <c:v>13355.164000000002</c:v>
                </c:pt>
                <c:pt idx="2257">
                  <c:v>13354.664000000002</c:v>
                </c:pt>
                <c:pt idx="2258">
                  <c:v>13349.504000000004</c:v>
                </c:pt>
                <c:pt idx="2259">
                  <c:v>13348.33</c:v>
                </c:pt>
                <c:pt idx="2260">
                  <c:v>13340.753999999988</c:v>
                </c:pt>
                <c:pt idx="2261">
                  <c:v>13333.343000000004</c:v>
                </c:pt>
                <c:pt idx="2262">
                  <c:v>13327.347</c:v>
                </c:pt>
                <c:pt idx="2263">
                  <c:v>13320.474</c:v>
                </c:pt>
                <c:pt idx="2264">
                  <c:v>13319.605000000001</c:v>
                </c:pt>
                <c:pt idx="2265">
                  <c:v>13319.251999999988</c:v>
                </c:pt>
                <c:pt idx="2266">
                  <c:v>13318.217000000002</c:v>
                </c:pt>
                <c:pt idx="2267">
                  <c:v>13307.903000000002</c:v>
                </c:pt>
                <c:pt idx="2268">
                  <c:v>13301.244000000013</c:v>
                </c:pt>
                <c:pt idx="2269">
                  <c:v>13298.548999999986</c:v>
                </c:pt>
                <c:pt idx="2270">
                  <c:v>13294.244000000013</c:v>
                </c:pt>
                <c:pt idx="2271">
                  <c:v>13287.814999999988</c:v>
                </c:pt>
                <c:pt idx="2272">
                  <c:v>13283.647999999988</c:v>
                </c:pt>
                <c:pt idx="2273">
                  <c:v>13282.511</c:v>
                </c:pt>
                <c:pt idx="2274">
                  <c:v>13280.794999999995</c:v>
                </c:pt>
                <c:pt idx="2275">
                  <c:v>13280.258000000002</c:v>
                </c:pt>
                <c:pt idx="2276">
                  <c:v>13279.163999999988</c:v>
                </c:pt>
                <c:pt idx="2277">
                  <c:v>13277.647999999988</c:v>
                </c:pt>
                <c:pt idx="2278">
                  <c:v>13277.178999999986</c:v>
                </c:pt>
                <c:pt idx="2279">
                  <c:v>13257.706999999988</c:v>
                </c:pt>
                <c:pt idx="2280">
                  <c:v>13247.59</c:v>
                </c:pt>
                <c:pt idx="2281">
                  <c:v>13244.45699999998</c:v>
                </c:pt>
                <c:pt idx="2282">
                  <c:v>13243.458999999979</c:v>
                </c:pt>
                <c:pt idx="2283">
                  <c:v>13243.439999999988</c:v>
                </c:pt>
                <c:pt idx="2284">
                  <c:v>13242.53300000001</c:v>
                </c:pt>
                <c:pt idx="2285">
                  <c:v>13240.912</c:v>
                </c:pt>
                <c:pt idx="2286">
                  <c:v>13239.733999999999</c:v>
                </c:pt>
                <c:pt idx="2287">
                  <c:v>13238.508000000002</c:v>
                </c:pt>
                <c:pt idx="2288">
                  <c:v>13237.819</c:v>
                </c:pt>
                <c:pt idx="2289">
                  <c:v>13235.321</c:v>
                </c:pt>
                <c:pt idx="2290">
                  <c:v>13235.169999999986</c:v>
                </c:pt>
                <c:pt idx="2291">
                  <c:v>13233.306999999979</c:v>
                </c:pt>
                <c:pt idx="2292">
                  <c:v>13231.110999999988</c:v>
                </c:pt>
                <c:pt idx="2293">
                  <c:v>13230.984999999988</c:v>
                </c:pt>
                <c:pt idx="2294">
                  <c:v>13220.394</c:v>
                </c:pt>
                <c:pt idx="2295">
                  <c:v>13215.44999999999</c:v>
                </c:pt>
                <c:pt idx="2296">
                  <c:v>13212.539999999988</c:v>
                </c:pt>
                <c:pt idx="2297">
                  <c:v>13193.732000000011</c:v>
                </c:pt>
                <c:pt idx="2298">
                  <c:v>13192.402</c:v>
                </c:pt>
                <c:pt idx="2299">
                  <c:v>13192.048999999988</c:v>
                </c:pt>
                <c:pt idx="2300">
                  <c:v>13188.038</c:v>
                </c:pt>
                <c:pt idx="2301">
                  <c:v>13178.461000000001</c:v>
                </c:pt>
                <c:pt idx="2302">
                  <c:v>13177.460000000001</c:v>
                </c:pt>
                <c:pt idx="2303">
                  <c:v>13168.544000000011</c:v>
                </c:pt>
                <c:pt idx="2304">
                  <c:v>13166.285</c:v>
                </c:pt>
                <c:pt idx="2305">
                  <c:v>13161.27400000001</c:v>
                </c:pt>
                <c:pt idx="2306">
                  <c:v>13159.208999999988</c:v>
                </c:pt>
                <c:pt idx="2307">
                  <c:v>13159.133000000011</c:v>
                </c:pt>
                <c:pt idx="2308">
                  <c:v>13148.046000000002</c:v>
                </c:pt>
                <c:pt idx="2309">
                  <c:v>13134.994000000002</c:v>
                </c:pt>
                <c:pt idx="2310">
                  <c:v>13132.468000000001</c:v>
                </c:pt>
                <c:pt idx="2311">
                  <c:v>13130.022000000004</c:v>
                </c:pt>
                <c:pt idx="2312">
                  <c:v>13124.391</c:v>
                </c:pt>
                <c:pt idx="2313">
                  <c:v>13122.374999999987</c:v>
                </c:pt>
                <c:pt idx="2314">
                  <c:v>13121.698</c:v>
                </c:pt>
                <c:pt idx="2315">
                  <c:v>13119.684999999989</c:v>
                </c:pt>
                <c:pt idx="2316">
                  <c:v>13110.75</c:v>
                </c:pt>
                <c:pt idx="2317">
                  <c:v>13109.971000000001</c:v>
                </c:pt>
                <c:pt idx="2318">
                  <c:v>13109.738000000008</c:v>
                </c:pt>
                <c:pt idx="2319">
                  <c:v>13098.243999999999</c:v>
                </c:pt>
                <c:pt idx="2320">
                  <c:v>13089.707999999988</c:v>
                </c:pt>
                <c:pt idx="2321">
                  <c:v>13081.02400000001</c:v>
                </c:pt>
                <c:pt idx="2322">
                  <c:v>13073.252000000002</c:v>
                </c:pt>
                <c:pt idx="2323">
                  <c:v>13067.235999999988</c:v>
                </c:pt>
                <c:pt idx="2324">
                  <c:v>13067.166000000001</c:v>
                </c:pt>
                <c:pt idx="2325">
                  <c:v>13065.592000000002</c:v>
                </c:pt>
                <c:pt idx="2326">
                  <c:v>13060.537999999988</c:v>
                </c:pt>
                <c:pt idx="2327">
                  <c:v>13055.279</c:v>
                </c:pt>
                <c:pt idx="2328">
                  <c:v>13053.146000000002</c:v>
                </c:pt>
                <c:pt idx="2329">
                  <c:v>13043.767000000002</c:v>
                </c:pt>
                <c:pt idx="2330">
                  <c:v>13042.967000000001</c:v>
                </c:pt>
                <c:pt idx="2331">
                  <c:v>13040.223000000011</c:v>
                </c:pt>
                <c:pt idx="2332">
                  <c:v>13040.101000000002</c:v>
                </c:pt>
                <c:pt idx="2333">
                  <c:v>13030.504999999988</c:v>
                </c:pt>
                <c:pt idx="2334">
                  <c:v>13020.601999999988</c:v>
                </c:pt>
                <c:pt idx="2335">
                  <c:v>13015.95699999998</c:v>
                </c:pt>
                <c:pt idx="2336">
                  <c:v>13004.449000000002</c:v>
                </c:pt>
                <c:pt idx="2337">
                  <c:v>12997.12</c:v>
                </c:pt>
                <c:pt idx="2338">
                  <c:v>12993.156000000003</c:v>
                </c:pt>
                <c:pt idx="2339">
                  <c:v>12985.599999999988</c:v>
                </c:pt>
                <c:pt idx="2340">
                  <c:v>12978.932999999988</c:v>
                </c:pt>
                <c:pt idx="2341">
                  <c:v>12967.351999999979</c:v>
                </c:pt>
                <c:pt idx="2342">
                  <c:v>12967.252</c:v>
                </c:pt>
                <c:pt idx="2343">
                  <c:v>12966.977000000001</c:v>
                </c:pt>
                <c:pt idx="2344">
                  <c:v>12960.15</c:v>
                </c:pt>
                <c:pt idx="2345">
                  <c:v>12958.206</c:v>
                </c:pt>
                <c:pt idx="2346">
                  <c:v>12958.083999999988</c:v>
                </c:pt>
                <c:pt idx="2347">
                  <c:v>12956.042999999991</c:v>
                </c:pt>
                <c:pt idx="2348">
                  <c:v>12955.027000000002</c:v>
                </c:pt>
                <c:pt idx="2349">
                  <c:v>12948.350999999979</c:v>
                </c:pt>
                <c:pt idx="2350">
                  <c:v>12942.258999999985</c:v>
                </c:pt>
                <c:pt idx="2351">
                  <c:v>12936.161000000002</c:v>
                </c:pt>
                <c:pt idx="2352">
                  <c:v>12933.048000000004</c:v>
                </c:pt>
                <c:pt idx="2353">
                  <c:v>12932.191000000004</c:v>
                </c:pt>
                <c:pt idx="2354">
                  <c:v>12929.996999999981</c:v>
                </c:pt>
                <c:pt idx="2355">
                  <c:v>12924.768</c:v>
                </c:pt>
                <c:pt idx="2356">
                  <c:v>12922.35899999998</c:v>
                </c:pt>
                <c:pt idx="2357">
                  <c:v>12920.565999999979</c:v>
                </c:pt>
                <c:pt idx="2358">
                  <c:v>12920.528</c:v>
                </c:pt>
                <c:pt idx="2359">
                  <c:v>12917.474</c:v>
                </c:pt>
                <c:pt idx="2360">
                  <c:v>12912.44400000001</c:v>
                </c:pt>
                <c:pt idx="2361">
                  <c:v>12909.532999999989</c:v>
                </c:pt>
                <c:pt idx="2362">
                  <c:v>12905.438</c:v>
                </c:pt>
                <c:pt idx="2363">
                  <c:v>12904.616000000002</c:v>
                </c:pt>
                <c:pt idx="2364">
                  <c:v>12903.131999999991</c:v>
                </c:pt>
                <c:pt idx="2365">
                  <c:v>12901.079</c:v>
                </c:pt>
                <c:pt idx="2366">
                  <c:v>12895.100999999988</c:v>
                </c:pt>
                <c:pt idx="2367">
                  <c:v>12891.789000000002</c:v>
                </c:pt>
                <c:pt idx="2368">
                  <c:v>12886.313</c:v>
                </c:pt>
                <c:pt idx="2369">
                  <c:v>12867.407000000001</c:v>
                </c:pt>
                <c:pt idx="2370">
                  <c:v>12850.390000000001</c:v>
                </c:pt>
                <c:pt idx="2371">
                  <c:v>12842.52</c:v>
                </c:pt>
                <c:pt idx="2372">
                  <c:v>12820.135999999988</c:v>
                </c:pt>
                <c:pt idx="2373">
                  <c:v>12817.80599999998</c:v>
                </c:pt>
                <c:pt idx="2374">
                  <c:v>12816.99</c:v>
                </c:pt>
                <c:pt idx="2375">
                  <c:v>12811.693000000008</c:v>
                </c:pt>
                <c:pt idx="2376">
                  <c:v>12809.791000000008</c:v>
                </c:pt>
                <c:pt idx="2377">
                  <c:v>12809.361000000001</c:v>
                </c:pt>
                <c:pt idx="2378">
                  <c:v>12803.550000000001</c:v>
                </c:pt>
                <c:pt idx="2379">
                  <c:v>12802.384999999986</c:v>
                </c:pt>
                <c:pt idx="2380">
                  <c:v>12795.745999999988</c:v>
                </c:pt>
                <c:pt idx="2381">
                  <c:v>12785.584000000004</c:v>
                </c:pt>
                <c:pt idx="2382">
                  <c:v>12780.509</c:v>
                </c:pt>
                <c:pt idx="2383">
                  <c:v>12780.258000000002</c:v>
                </c:pt>
                <c:pt idx="2384">
                  <c:v>12779.083999999986</c:v>
                </c:pt>
                <c:pt idx="2385">
                  <c:v>12777.514999999989</c:v>
                </c:pt>
                <c:pt idx="2386">
                  <c:v>12772.437999999986</c:v>
                </c:pt>
                <c:pt idx="2387">
                  <c:v>12768.710999999988</c:v>
                </c:pt>
                <c:pt idx="2388">
                  <c:v>12767.029</c:v>
                </c:pt>
                <c:pt idx="2389">
                  <c:v>12766.113000000008</c:v>
                </c:pt>
                <c:pt idx="2390">
                  <c:v>12749.102999999988</c:v>
                </c:pt>
                <c:pt idx="2391">
                  <c:v>12747.71200000001</c:v>
                </c:pt>
                <c:pt idx="2392">
                  <c:v>12743.771999999988</c:v>
                </c:pt>
                <c:pt idx="2393">
                  <c:v>12742.932999999988</c:v>
                </c:pt>
                <c:pt idx="2394">
                  <c:v>12742.160000000002</c:v>
                </c:pt>
                <c:pt idx="2395">
                  <c:v>12729.172999999988</c:v>
                </c:pt>
                <c:pt idx="2396">
                  <c:v>12729.053000000002</c:v>
                </c:pt>
                <c:pt idx="2397">
                  <c:v>12705.404000000002</c:v>
                </c:pt>
                <c:pt idx="2398">
                  <c:v>12699.46599999998</c:v>
                </c:pt>
                <c:pt idx="2399">
                  <c:v>12695.851000000001</c:v>
                </c:pt>
                <c:pt idx="2400">
                  <c:v>12694.101999999988</c:v>
                </c:pt>
                <c:pt idx="2401">
                  <c:v>12689.428</c:v>
                </c:pt>
                <c:pt idx="2402">
                  <c:v>12689.331</c:v>
                </c:pt>
                <c:pt idx="2403">
                  <c:v>12684.343000000004</c:v>
                </c:pt>
                <c:pt idx="2404">
                  <c:v>12681.228999999988</c:v>
                </c:pt>
                <c:pt idx="2405">
                  <c:v>12673.474</c:v>
                </c:pt>
                <c:pt idx="2406">
                  <c:v>12670.106</c:v>
                </c:pt>
                <c:pt idx="2407">
                  <c:v>12660.630000000006</c:v>
                </c:pt>
                <c:pt idx="2408">
                  <c:v>12657.777</c:v>
                </c:pt>
                <c:pt idx="2409">
                  <c:v>12649.68</c:v>
                </c:pt>
                <c:pt idx="2410">
                  <c:v>12644.273000000008</c:v>
                </c:pt>
                <c:pt idx="2411">
                  <c:v>12642.474000000002</c:v>
                </c:pt>
                <c:pt idx="2412">
                  <c:v>12638.985999999979</c:v>
                </c:pt>
                <c:pt idx="2413">
                  <c:v>12637.384000000002</c:v>
                </c:pt>
                <c:pt idx="2414">
                  <c:v>12637.278</c:v>
                </c:pt>
                <c:pt idx="2415">
                  <c:v>12630.755000000001</c:v>
                </c:pt>
                <c:pt idx="2416">
                  <c:v>12628.137999999988</c:v>
                </c:pt>
                <c:pt idx="2417">
                  <c:v>12626.577000000001</c:v>
                </c:pt>
                <c:pt idx="2418">
                  <c:v>12626.366999999978</c:v>
                </c:pt>
                <c:pt idx="2419">
                  <c:v>12622.573</c:v>
                </c:pt>
                <c:pt idx="2420">
                  <c:v>12616.161999999986</c:v>
                </c:pt>
                <c:pt idx="2421">
                  <c:v>12610.859999999981</c:v>
                </c:pt>
                <c:pt idx="2422">
                  <c:v>12593.201000000006</c:v>
                </c:pt>
                <c:pt idx="2423">
                  <c:v>12572.092000000002</c:v>
                </c:pt>
                <c:pt idx="2424">
                  <c:v>12561.047999999988</c:v>
                </c:pt>
                <c:pt idx="2425">
                  <c:v>12559.339</c:v>
                </c:pt>
                <c:pt idx="2426">
                  <c:v>12556.16</c:v>
                </c:pt>
                <c:pt idx="2427">
                  <c:v>12554.624000000011</c:v>
                </c:pt>
                <c:pt idx="2428">
                  <c:v>12552.43</c:v>
                </c:pt>
                <c:pt idx="2429">
                  <c:v>12544.304</c:v>
                </c:pt>
                <c:pt idx="2430">
                  <c:v>12544.275</c:v>
                </c:pt>
                <c:pt idx="2431">
                  <c:v>12538.214000000011</c:v>
                </c:pt>
                <c:pt idx="2432">
                  <c:v>12529.455999999978</c:v>
                </c:pt>
                <c:pt idx="2433">
                  <c:v>12528.828000000001</c:v>
                </c:pt>
                <c:pt idx="2434">
                  <c:v>12516.743000000011</c:v>
                </c:pt>
                <c:pt idx="2435">
                  <c:v>12511.291000000008</c:v>
                </c:pt>
                <c:pt idx="2436">
                  <c:v>12493.674999999988</c:v>
                </c:pt>
                <c:pt idx="2437">
                  <c:v>12484.388999999981</c:v>
                </c:pt>
                <c:pt idx="2438">
                  <c:v>12484.054999999988</c:v>
                </c:pt>
                <c:pt idx="2439">
                  <c:v>12482.822</c:v>
                </c:pt>
                <c:pt idx="2440">
                  <c:v>12476.109999999988</c:v>
                </c:pt>
                <c:pt idx="2441">
                  <c:v>12474.752</c:v>
                </c:pt>
                <c:pt idx="2442">
                  <c:v>12472.681</c:v>
                </c:pt>
                <c:pt idx="2443">
                  <c:v>12471.82</c:v>
                </c:pt>
                <c:pt idx="2444">
                  <c:v>12471.78</c:v>
                </c:pt>
                <c:pt idx="2445">
                  <c:v>12469.461999999981</c:v>
                </c:pt>
                <c:pt idx="2446">
                  <c:v>12464.530999999988</c:v>
                </c:pt>
                <c:pt idx="2447">
                  <c:v>12463.727722000011</c:v>
                </c:pt>
                <c:pt idx="2448">
                  <c:v>12460.044000000013</c:v>
                </c:pt>
                <c:pt idx="2449">
                  <c:v>12455.372000000001</c:v>
                </c:pt>
                <c:pt idx="2450">
                  <c:v>12455.023000000008</c:v>
                </c:pt>
                <c:pt idx="2451">
                  <c:v>12453.064000000002</c:v>
                </c:pt>
                <c:pt idx="2452">
                  <c:v>12449.971000000001</c:v>
                </c:pt>
                <c:pt idx="2453">
                  <c:v>12425.677</c:v>
                </c:pt>
                <c:pt idx="2454">
                  <c:v>12425.516</c:v>
                </c:pt>
                <c:pt idx="2455">
                  <c:v>12424.128000000002</c:v>
                </c:pt>
                <c:pt idx="2456">
                  <c:v>12423.879000000001</c:v>
                </c:pt>
                <c:pt idx="2457">
                  <c:v>12421.424000000006</c:v>
                </c:pt>
                <c:pt idx="2458">
                  <c:v>12405.734999999999</c:v>
                </c:pt>
                <c:pt idx="2459">
                  <c:v>12401.798000000004</c:v>
                </c:pt>
                <c:pt idx="2460">
                  <c:v>12399.754999999988</c:v>
                </c:pt>
                <c:pt idx="2461">
                  <c:v>12399.047</c:v>
                </c:pt>
                <c:pt idx="2462">
                  <c:v>12391.937000000002</c:v>
                </c:pt>
                <c:pt idx="2463">
                  <c:v>12381.461000000001</c:v>
                </c:pt>
                <c:pt idx="2464">
                  <c:v>12380.546000000002</c:v>
                </c:pt>
                <c:pt idx="2465">
                  <c:v>12376.753999999986</c:v>
                </c:pt>
                <c:pt idx="2466">
                  <c:v>12372.611000000004</c:v>
                </c:pt>
                <c:pt idx="2467">
                  <c:v>12371.318999999981</c:v>
                </c:pt>
                <c:pt idx="2468">
                  <c:v>12358.300000000001</c:v>
                </c:pt>
                <c:pt idx="2469">
                  <c:v>12358.034000000011</c:v>
                </c:pt>
                <c:pt idx="2470">
                  <c:v>12356.974999999991</c:v>
                </c:pt>
                <c:pt idx="2471">
                  <c:v>12351.307000000001</c:v>
                </c:pt>
                <c:pt idx="2472">
                  <c:v>12344.300999999983</c:v>
                </c:pt>
                <c:pt idx="2473">
                  <c:v>12342.364</c:v>
                </c:pt>
                <c:pt idx="2474">
                  <c:v>12341.208000000002</c:v>
                </c:pt>
                <c:pt idx="2475">
                  <c:v>12338.587</c:v>
                </c:pt>
                <c:pt idx="2476">
                  <c:v>12332.127999999986</c:v>
                </c:pt>
                <c:pt idx="2477">
                  <c:v>12324.263999999988</c:v>
                </c:pt>
                <c:pt idx="2478">
                  <c:v>12323.021000000002</c:v>
                </c:pt>
                <c:pt idx="2479">
                  <c:v>12319.622000000008</c:v>
                </c:pt>
                <c:pt idx="2480">
                  <c:v>12317.539000000002</c:v>
                </c:pt>
                <c:pt idx="2481">
                  <c:v>12310.638999999988</c:v>
                </c:pt>
                <c:pt idx="2482">
                  <c:v>12280.682000000004</c:v>
                </c:pt>
                <c:pt idx="2483">
                  <c:v>12278.787</c:v>
                </c:pt>
                <c:pt idx="2484">
                  <c:v>12276.294000000011</c:v>
                </c:pt>
                <c:pt idx="2485">
                  <c:v>12261.132000000011</c:v>
                </c:pt>
                <c:pt idx="2486">
                  <c:v>12259.248000000011</c:v>
                </c:pt>
                <c:pt idx="2487">
                  <c:v>12250.902</c:v>
                </c:pt>
                <c:pt idx="2488">
                  <c:v>12249.514999999989</c:v>
                </c:pt>
                <c:pt idx="2489">
                  <c:v>12248.043000000011</c:v>
                </c:pt>
                <c:pt idx="2490">
                  <c:v>12243.168</c:v>
                </c:pt>
                <c:pt idx="2491">
                  <c:v>12236.797</c:v>
                </c:pt>
                <c:pt idx="2492">
                  <c:v>12236.392999999985</c:v>
                </c:pt>
                <c:pt idx="2493">
                  <c:v>12234.538</c:v>
                </c:pt>
                <c:pt idx="2494">
                  <c:v>12217.752</c:v>
                </c:pt>
                <c:pt idx="2495">
                  <c:v>12212.409000000001</c:v>
                </c:pt>
                <c:pt idx="2496">
                  <c:v>12210.584000000004</c:v>
                </c:pt>
                <c:pt idx="2497">
                  <c:v>12209.82</c:v>
                </c:pt>
                <c:pt idx="2498">
                  <c:v>12208.848</c:v>
                </c:pt>
                <c:pt idx="2499">
                  <c:v>12208.34</c:v>
                </c:pt>
                <c:pt idx="2500">
                  <c:v>12202.962999999983</c:v>
                </c:pt>
                <c:pt idx="2501">
                  <c:v>12202.656999999981</c:v>
                </c:pt>
                <c:pt idx="2502">
                  <c:v>12199.162</c:v>
                </c:pt>
                <c:pt idx="2503">
                  <c:v>12189.206</c:v>
                </c:pt>
                <c:pt idx="2504">
                  <c:v>12187.906999999981</c:v>
                </c:pt>
                <c:pt idx="2505">
                  <c:v>12184.716</c:v>
                </c:pt>
                <c:pt idx="2506">
                  <c:v>12181.540999999988</c:v>
                </c:pt>
                <c:pt idx="2507">
                  <c:v>12177.249000000011</c:v>
                </c:pt>
                <c:pt idx="2508">
                  <c:v>12173.708999999988</c:v>
                </c:pt>
                <c:pt idx="2509">
                  <c:v>12172.98</c:v>
                </c:pt>
                <c:pt idx="2510">
                  <c:v>12169.364</c:v>
                </c:pt>
                <c:pt idx="2511">
                  <c:v>12159.828000000001</c:v>
                </c:pt>
                <c:pt idx="2512">
                  <c:v>12152.612999999988</c:v>
                </c:pt>
                <c:pt idx="2513">
                  <c:v>12145.233999999999</c:v>
                </c:pt>
                <c:pt idx="2514">
                  <c:v>12143.297000000002</c:v>
                </c:pt>
                <c:pt idx="2515">
                  <c:v>12136.278999999988</c:v>
                </c:pt>
                <c:pt idx="2516">
                  <c:v>12134.324999999988</c:v>
                </c:pt>
                <c:pt idx="2517">
                  <c:v>12131.4</c:v>
                </c:pt>
                <c:pt idx="2518">
                  <c:v>12128.267</c:v>
                </c:pt>
                <c:pt idx="2519">
                  <c:v>12123.623000000012</c:v>
                </c:pt>
                <c:pt idx="2520">
                  <c:v>12120.109999999988</c:v>
                </c:pt>
                <c:pt idx="2521">
                  <c:v>12099.044000000013</c:v>
                </c:pt>
                <c:pt idx="2522">
                  <c:v>12097.903</c:v>
                </c:pt>
                <c:pt idx="2523">
                  <c:v>12096.879000000001</c:v>
                </c:pt>
                <c:pt idx="2524">
                  <c:v>12091.714000000011</c:v>
                </c:pt>
                <c:pt idx="2525">
                  <c:v>12080.938</c:v>
                </c:pt>
                <c:pt idx="2526">
                  <c:v>12073.464000000002</c:v>
                </c:pt>
                <c:pt idx="2527">
                  <c:v>12065.498000000001</c:v>
                </c:pt>
                <c:pt idx="2528">
                  <c:v>12065.334999999988</c:v>
                </c:pt>
                <c:pt idx="2529">
                  <c:v>12055.316999999981</c:v>
                </c:pt>
                <c:pt idx="2530">
                  <c:v>12051.439</c:v>
                </c:pt>
                <c:pt idx="2531">
                  <c:v>12049.017000000002</c:v>
                </c:pt>
                <c:pt idx="2532">
                  <c:v>12045.919999999986</c:v>
                </c:pt>
                <c:pt idx="2533">
                  <c:v>12045.184999999989</c:v>
                </c:pt>
                <c:pt idx="2534">
                  <c:v>12044.089</c:v>
                </c:pt>
                <c:pt idx="2535">
                  <c:v>12043.948</c:v>
                </c:pt>
                <c:pt idx="2536">
                  <c:v>12039.853999999981</c:v>
                </c:pt>
                <c:pt idx="2537">
                  <c:v>12035.936999999984</c:v>
                </c:pt>
                <c:pt idx="2538">
                  <c:v>12034.343999999988</c:v>
                </c:pt>
                <c:pt idx="2539">
                  <c:v>12034.043000000011</c:v>
                </c:pt>
                <c:pt idx="2540">
                  <c:v>12032.752999999988</c:v>
                </c:pt>
                <c:pt idx="2541">
                  <c:v>12023.468000000001</c:v>
                </c:pt>
                <c:pt idx="2542">
                  <c:v>12017.57</c:v>
                </c:pt>
                <c:pt idx="2543">
                  <c:v>12016.882000000001</c:v>
                </c:pt>
                <c:pt idx="2544">
                  <c:v>12014.154999999988</c:v>
                </c:pt>
                <c:pt idx="2545">
                  <c:v>12013.110999999988</c:v>
                </c:pt>
                <c:pt idx="2546">
                  <c:v>12004.27</c:v>
                </c:pt>
                <c:pt idx="2547">
                  <c:v>12003.738000000008</c:v>
                </c:pt>
                <c:pt idx="2548">
                  <c:v>11998.314</c:v>
                </c:pt>
                <c:pt idx="2549">
                  <c:v>11996.778</c:v>
                </c:pt>
                <c:pt idx="2550">
                  <c:v>11994.859999999981</c:v>
                </c:pt>
                <c:pt idx="2551">
                  <c:v>11994.578000000001</c:v>
                </c:pt>
                <c:pt idx="2552">
                  <c:v>11991.523000000008</c:v>
                </c:pt>
                <c:pt idx="2553">
                  <c:v>11991.454999999985</c:v>
                </c:pt>
                <c:pt idx="2554">
                  <c:v>11989.935999999983</c:v>
                </c:pt>
                <c:pt idx="2555">
                  <c:v>11988.870999999981</c:v>
                </c:pt>
                <c:pt idx="2556">
                  <c:v>11981.690999999988</c:v>
                </c:pt>
                <c:pt idx="2557">
                  <c:v>11980.581</c:v>
                </c:pt>
                <c:pt idx="2558">
                  <c:v>11970.874</c:v>
                </c:pt>
                <c:pt idx="2559">
                  <c:v>11954.94999999999</c:v>
                </c:pt>
                <c:pt idx="2560">
                  <c:v>11953.412</c:v>
                </c:pt>
                <c:pt idx="2561">
                  <c:v>11949.193000000008</c:v>
                </c:pt>
                <c:pt idx="2562">
                  <c:v>11948.437</c:v>
                </c:pt>
                <c:pt idx="2563">
                  <c:v>11945.6</c:v>
                </c:pt>
                <c:pt idx="2564">
                  <c:v>11934.454</c:v>
                </c:pt>
                <c:pt idx="2565">
                  <c:v>11929.022000000004</c:v>
                </c:pt>
                <c:pt idx="2566">
                  <c:v>11922.740000000013</c:v>
                </c:pt>
                <c:pt idx="2567">
                  <c:v>11917.104000000008</c:v>
                </c:pt>
                <c:pt idx="2568">
                  <c:v>11916.964999999987</c:v>
                </c:pt>
                <c:pt idx="2569">
                  <c:v>11911.126999999988</c:v>
                </c:pt>
                <c:pt idx="2570">
                  <c:v>11905.930999999988</c:v>
                </c:pt>
                <c:pt idx="2571">
                  <c:v>11898.800000000001</c:v>
                </c:pt>
                <c:pt idx="2572">
                  <c:v>11891.028999999988</c:v>
                </c:pt>
                <c:pt idx="2573">
                  <c:v>11883.932000000004</c:v>
                </c:pt>
                <c:pt idx="2574">
                  <c:v>11882.430999999988</c:v>
                </c:pt>
                <c:pt idx="2575">
                  <c:v>11880.619000000002</c:v>
                </c:pt>
                <c:pt idx="2576">
                  <c:v>11879.419</c:v>
                </c:pt>
                <c:pt idx="2577">
                  <c:v>11869.494999999988</c:v>
                </c:pt>
                <c:pt idx="2578">
                  <c:v>11866.313</c:v>
                </c:pt>
                <c:pt idx="2579">
                  <c:v>11866.286</c:v>
                </c:pt>
                <c:pt idx="2580">
                  <c:v>11865.974999999989</c:v>
                </c:pt>
                <c:pt idx="2581">
                  <c:v>11862.843000000004</c:v>
                </c:pt>
                <c:pt idx="2582">
                  <c:v>11857.674999999988</c:v>
                </c:pt>
                <c:pt idx="2583">
                  <c:v>11851.91</c:v>
                </c:pt>
                <c:pt idx="2584">
                  <c:v>11851.645</c:v>
                </c:pt>
                <c:pt idx="2585">
                  <c:v>11846.720999999989</c:v>
                </c:pt>
                <c:pt idx="2586">
                  <c:v>11845.093000000004</c:v>
                </c:pt>
                <c:pt idx="2587">
                  <c:v>11842.406000000001</c:v>
                </c:pt>
                <c:pt idx="2588">
                  <c:v>11835.486999999981</c:v>
                </c:pt>
                <c:pt idx="2589">
                  <c:v>11833.335000000001</c:v>
                </c:pt>
                <c:pt idx="2590">
                  <c:v>11827.764999999989</c:v>
                </c:pt>
                <c:pt idx="2591">
                  <c:v>11827.700999999988</c:v>
                </c:pt>
                <c:pt idx="2592">
                  <c:v>11825.303</c:v>
                </c:pt>
                <c:pt idx="2593">
                  <c:v>11810.263000000004</c:v>
                </c:pt>
                <c:pt idx="2594">
                  <c:v>11806.76</c:v>
                </c:pt>
                <c:pt idx="2595">
                  <c:v>11806.648000000008</c:v>
                </c:pt>
                <c:pt idx="2596">
                  <c:v>11804.424000000006</c:v>
                </c:pt>
                <c:pt idx="2597">
                  <c:v>11800.508</c:v>
                </c:pt>
                <c:pt idx="2598">
                  <c:v>11798.665000000001</c:v>
                </c:pt>
                <c:pt idx="2599">
                  <c:v>11791.994000000002</c:v>
                </c:pt>
                <c:pt idx="2600">
                  <c:v>11787.581</c:v>
                </c:pt>
                <c:pt idx="2601">
                  <c:v>11784.759000000002</c:v>
                </c:pt>
                <c:pt idx="2602">
                  <c:v>11782.620999999988</c:v>
                </c:pt>
                <c:pt idx="2603">
                  <c:v>11774.733000000011</c:v>
                </c:pt>
                <c:pt idx="2604">
                  <c:v>11773.048000000004</c:v>
                </c:pt>
                <c:pt idx="2605">
                  <c:v>11763.478999999981</c:v>
                </c:pt>
                <c:pt idx="2606">
                  <c:v>11759.606000000002</c:v>
                </c:pt>
                <c:pt idx="2607">
                  <c:v>11743.643000000011</c:v>
                </c:pt>
                <c:pt idx="2608">
                  <c:v>11741.55599999998</c:v>
                </c:pt>
                <c:pt idx="2609">
                  <c:v>11739.005000000001</c:v>
                </c:pt>
                <c:pt idx="2610">
                  <c:v>11736.908999999983</c:v>
                </c:pt>
                <c:pt idx="2611">
                  <c:v>11728.568000000001</c:v>
                </c:pt>
                <c:pt idx="2612">
                  <c:v>11725.833000000002</c:v>
                </c:pt>
                <c:pt idx="2613">
                  <c:v>11716.006000000001</c:v>
                </c:pt>
                <c:pt idx="2614">
                  <c:v>11712.135</c:v>
                </c:pt>
                <c:pt idx="2615">
                  <c:v>11704.375999999978</c:v>
                </c:pt>
                <c:pt idx="2616">
                  <c:v>11699.921999999988</c:v>
                </c:pt>
                <c:pt idx="2617">
                  <c:v>11699.246999999988</c:v>
                </c:pt>
                <c:pt idx="2618">
                  <c:v>11696.253000000002</c:v>
                </c:pt>
                <c:pt idx="2619">
                  <c:v>11686.146999999988</c:v>
                </c:pt>
                <c:pt idx="2620">
                  <c:v>11685.177</c:v>
                </c:pt>
                <c:pt idx="2621">
                  <c:v>11682.935000000001</c:v>
                </c:pt>
                <c:pt idx="2622">
                  <c:v>11675.829</c:v>
                </c:pt>
                <c:pt idx="2623">
                  <c:v>11674.922999999988</c:v>
                </c:pt>
                <c:pt idx="2624">
                  <c:v>11673.585000000001</c:v>
                </c:pt>
                <c:pt idx="2625">
                  <c:v>11669.845000000001</c:v>
                </c:pt>
                <c:pt idx="2626">
                  <c:v>11667.29200000001</c:v>
                </c:pt>
                <c:pt idx="2627">
                  <c:v>11665.89</c:v>
                </c:pt>
                <c:pt idx="2628">
                  <c:v>11659.455999999973</c:v>
                </c:pt>
                <c:pt idx="2629">
                  <c:v>11652.578</c:v>
                </c:pt>
                <c:pt idx="2630">
                  <c:v>11649.629000000004</c:v>
                </c:pt>
                <c:pt idx="2631">
                  <c:v>11646.210999999988</c:v>
                </c:pt>
                <c:pt idx="2632">
                  <c:v>11642.37699999998</c:v>
                </c:pt>
                <c:pt idx="2633">
                  <c:v>11638.669999999986</c:v>
                </c:pt>
                <c:pt idx="2634">
                  <c:v>11638.53</c:v>
                </c:pt>
                <c:pt idx="2635">
                  <c:v>11624.579</c:v>
                </c:pt>
                <c:pt idx="2636">
                  <c:v>11618.909</c:v>
                </c:pt>
                <c:pt idx="2637">
                  <c:v>11613.998</c:v>
                </c:pt>
                <c:pt idx="2638">
                  <c:v>11613.613000000008</c:v>
                </c:pt>
                <c:pt idx="2639">
                  <c:v>11608.849</c:v>
                </c:pt>
                <c:pt idx="2640">
                  <c:v>11604.257</c:v>
                </c:pt>
                <c:pt idx="2641">
                  <c:v>11599.213000000011</c:v>
                </c:pt>
                <c:pt idx="2642">
                  <c:v>11597.903</c:v>
                </c:pt>
                <c:pt idx="2643">
                  <c:v>11596.864999999983</c:v>
                </c:pt>
                <c:pt idx="2644">
                  <c:v>11595.352999999981</c:v>
                </c:pt>
                <c:pt idx="2645">
                  <c:v>11590.213000000011</c:v>
                </c:pt>
                <c:pt idx="2646">
                  <c:v>11588.553</c:v>
                </c:pt>
                <c:pt idx="2647">
                  <c:v>11576.331</c:v>
                </c:pt>
                <c:pt idx="2648">
                  <c:v>11567.314999999988</c:v>
                </c:pt>
                <c:pt idx="2649">
                  <c:v>11564.816000000001</c:v>
                </c:pt>
                <c:pt idx="2650">
                  <c:v>11561.23000000001</c:v>
                </c:pt>
                <c:pt idx="2651">
                  <c:v>11560.41</c:v>
                </c:pt>
                <c:pt idx="2652">
                  <c:v>11559.509000000002</c:v>
                </c:pt>
                <c:pt idx="2653">
                  <c:v>11556.486999999981</c:v>
                </c:pt>
                <c:pt idx="2654">
                  <c:v>11555.236000000004</c:v>
                </c:pt>
                <c:pt idx="2655">
                  <c:v>11553.428</c:v>
                </c:pt>
                <c:pt idx="2656">
                  <c:v>11552.34</c:v>
                </c:pt>
                <c:pt idx="2657">
                  <c:v>11547.489000000001</c:v>
                </c:pt>
                <c:pt idx="2658">
                  <c:v>11547.483</c:v>
                </c:pt>
                <c:pt idx="2659">
                  <c:v>11543.084999999988</c:v>
                </c:pt>
                <c:pt idx="2660">
                  <c:v>11540.698</c:v>
                </c:pt>
                <c:pt idx="2661">
                  <c:v>11537.228999999988</c:v>
                </c:pt>
                <c:pt idx="2662">
                  <c:v>11536.050000000001</c:v>
                </c:pt>
                <c:pt idx="2663">
                  <c:v>11535.254999999988</c:v>
                </c:pt>
                <c:pt idx="2664">
                  <c:v>11534.061</c:v>
                </c:pt>
                <c:pt idx="2665">
                  <c:v>11530.240000000011</c:v>
                </c:pt>
                <c:pt idx="2666">
                  <c:v>11520.100999999988</c:v>
                </c:pt>
                <c:pt idx="2667">
                  <c:v>11518.657000000003</c:v>
                </c:pt>
                <c:pt idx="2668">
                  <c:v>11516.874999999987</c:v>
                </c:pt>
                <c:pt idx="2669">
                  <c:v>11505.238000000008</c:v>
                </c:pt>
                <c:pt idx="2670">
                  <c:v>11500.492999999988</c:v>
                </c:pt>
                <c:pt idx="2671">
                  <c:v>11499.931</c:v>
                </c:pt>
                <c:pt idx="2672">
                  <c:v>11498.328000000001</c:v>
                </c:pt>
                <c:pt idx="2673">
                  <c:v>11495.673999999988</c:v>
                </c:pt>
                <c:pt idx="2674">
                  <c:v>11488.924000000006</c:v>
                </c:pt>
                <c:pt idx="2675">
                  <c:v>11487.679999999986</c:v>
                </c:pt>
                <c:pt idx="2676">
                  <c:v>11485.323999999988</c:v>
                </c:pt>
                <c:pt idx="2677">
                  <c:v>11484.659</c:v>
                </c:pt>
                <c:pt idx="2678">
                  <c:v>11483.424000000006</c:v>
                </c:pt>
                <c:pt idx="2679">
                  <c:v>11476.893000000002</c:v>
                </c:pt>
                <c:pt idx="2680">
                  <c:v>11476.485000000001</c:v>
                </c:pt>
                <c:pt idx="2681">
                  <c:v>11474.826000000001</c:v>
                </c:pt>
                <c:pt idx="2682">
                  <c:v>11473.100000000002</c:v>
                </c:pt>
                <c:pt idx="2683">
                  <c:v>11472.523000000008</c:v>
                </c:pt>
                <c:pt idx="2684">
                  <c:v>11471.561000000002</c:v>
                </c:pt>
                <c:pt idx="2685">
                  <c:v>11470.288</c:v>
                </c:pt>
                <c:pt idx="2686">
                  <c:v>11463.986999999981</c:v>
                </c:pt>
                <c:pt idx="2687">
                  <c:v>11457.757</c:v>
                </c:pt>
                <c:pt idx="2688">
                  <c:v>11454.488000000001</c:v>
                </c:pt>
                <c:pt idx="2689">
                  <c:v>11451.288</c:v>
                </c:pt>
                <c:pt idx="2690">
                  <c:v>11451.19400000001</c:v>
                </c:pt>
                <c:pt idx="2691">
                  <c:v>11447.058000000001</c:v>
                </c:pt>
                <c:pt idx="2692">
                  <c:v>11439.86799999998</c:v>
                </c:pt>
                <c:pt idx="2693">
                  <c:v>11434.543000000012</c:v>
                </c:pt>
                <c:pt idx="2694">
                  <c:v>11433.213499999998</c:v>
                </c:pt>
                <c:pt idx="2695">
                  <c:v>11430.291999999989</c:v>
                </c:pt>
                <c:pt idx="2696">
                  <c:v>11418.766</c:v>
                </c:pt>
                <c:pt idx="2697">
                  <c:v>11407.585000000001</c:v>
                </c:pt>
                <c:pt idx="2698">
                  <c:v>11406.808000000001</c:v>
                </c:pt>
                <c:pt idx="2699">
                  <c:v>11401.793000000011</c:v>
                </c:pt>
                <c:pt idx="2700">
                  <c:v>11401.19</c:v>
                </c:pt>
                <c:pt idx="2701">
                  <c:v>11400.476999999979</c:v>
                </c:pt>
                <c:pt idx="2702">
                  <c:v>11395.470000000001</c:v>
                </c:pt>
                <c:pt idx="2703">
                  <c:v>11389.924999999988</c:v>
                </c:pt>
                <c:pt idx="2704">
                  <c:v>11387.665000000001</c:v>
                </c:pt>
                <c:pt idx="2705">
                  <c:v>11383.803</c:v>
                </c:pt>
                <c:pt idx="2706">
                  <c:v>11380.035</c:v>
                </c:pt>
                <c:pt idx="2707">
                  <c:v>11374.615</c:v>
                </c:pt>
                <c:pt idx="2708">
                  <c:v>11372.691000000004</c:v>
                </c:pt>
                <c:pt idx="2709">
                  <c:v>11370.559000000001</c:v>
                </c:pt>
                <c:pt idx="2710">
                  <c:v>11357.19400000001</c:v>
                </c:pt>
                <c:pt idx="2711">
                  <c:v>11355.602000000004</c:v>
                </c:pt>
                <c:pt idx="2712">
                  <c:v>11355.291000000008</c:v>
                </c:pt>
                <c:pt idx="2713">
                  <c:v>11351.938000000002</c:v>
                </c:pt>
                <c:pt idx="2714">
                  <c:v>11331.164000000002</c:v>
                </c:pt>
                <c:pt idx="2715">
                  <c:v>11330.448</c:v>
                </c:pt>
                <c:pt idx="2716">
                  <c:v>11326.439999999988</c:v>
                </c:pt>
                <c:pt idx="2717">
                  <c:v>11326.218999999988</c:v>
                </c:pt>
                <c:pt idx="2718">
                  <c:v>11325.574000000002</c:v>
                </c:pt>
                <c:pt idx="2719">
                  <c:v>11319.476000000001</c:v>
                </c:pt>
                <c:pt idx="2720">
                  <c:v>11318.891</c:v>
                </c:pt>
                <c:pt idx="2721">
                  <c:v>11304.46599999998</c:v>
                </c:pt>
                <c:pt idx="2722">
                  <c:v>11303.224999999999</c:v>
                </c:pt>
                <c:pt idx="2723">
                  <c:v>11301.199000000002</c:v>
                </c:pt>
                <c:pt idx="2724">
                  <c:v>11299.646999999988</c:v>
                </c:pt>
                <c:pt idx="2725">
                  <c:v>11293.031999999988</c:v>
                </c:pt>
                <c:pt idx="2726">
                  <c:v>11285.353000000001</c:v>
                </c:pt>
                <c:pt idx="2727">
                  <c:v>11282.248000000011</c:v>
                </c:pt>
                <c:pt idx="2728">
                  <c:v>11280.266</c:v>
                </c:pt>
                <c:pt idx="2729">
                  <c:v>11280.146000000002</c:v>
                </c:pt>
                <c:pt idx="2730">
                  <c:v>11271.263000000004</c:v>
                </c:pt>
                <c:pt idx="2731">
                  <c:v>11271.010999999988</c:v>
                </c:pt>
                <c:pt idx="2732">
                  <c:v>11265.853999999981</c:v>
                </c:pt>
                <c:pt idx="2733">
                  <c:v>11261.548000000004</c:v>
                </c:pt>
                <c:pt idx="2734">
                  <c:v>11252.530999999988</c:v>
                </c:pt>
                <c:pt idx="2735">
                  <c:v>11246.69</c:v>
                </c:pt>
                <c:pt idx="2736">
                  <c:v>11242.817000000001</c:v>
                </c:pt>
                <c:pt idx="2737">
                  <c:v>11236.964</c:v>
                </c:pt>
                <c:pt idx="2738">
                  <c:v>11233.106000000002</c:v>
                </c:pt>
                <c:pt idx="2739">
                  <c:v>11232.102999999988</c:v>
                </c:pt>
                <c:pt idx="2740">
                  <c:v>11228.89</c:v>
                </c:pt>
                <c:pt idx="2741">
                  <c:v>11206.059000000001</c:v>
                </c:pt>
                <c:pt idx="2742">
                  <c:v>11202.627</c:v>
                </c:pt>
                <c:pt idx="2743">
                  <c:v>11202.196</c:v>
                </c:pt>
                <c:pt idx="2744">
                  <c:v>11200.352999999981</c:v>
                </c:pt>
                <c:pt idx="2745">
                  <c:v>11189.364999999983</c:v>
                </c:pt>
                <c:pt idx="2746">
                  <c:v>11185.505000000001</c:v>
                </c:pt>
                <c:pt idx="2747">
                  <c:v>11184.18</c:v>
                </c:pt>
                <c:pt idx="2748">
                  <c:v>11181.574000000002</c:v>
                </c:pt>
                <c:pt idx="2749">
                  <c:v>11176.909999999983</c:v>
                </c:pt>
                <c:pt idx="2750">
                  <c:v>11175.633000000011</c:v>
                </c:pt>
                <c:pt idx="2751">
                  <c:v>11173.707</c:v>
                </c:pt>
                <c:pt idx="2752">
                  <c:v>11165.065999999979</c:v>
                </c:pt>
                <c:pt idx="2753">
                  <c:v>11164.065999999979</c:v>
                </c:pt>
                <c:pt idx="2754">
                  <c:v>11162.699000000002</c:v>
                </c:pt>
                <c:pt idx="2755">
                  <c:v>11158.34</c:v>
                </c:pt>
                <c:pt idx="2756">
                  <c:v>11156.846000000001</c:v>
                </c:pt>
                <c:pt idx="2757">
                  <c:v>11154.863000000001</c:v>
                </c:pt>
                <c:pt idx="2758">
                  <c:v>11154.587</c:v>
                </c:pt>
                <c:pt idx="2759">
                  <c:v>11143.99</c:v>
                </c:pt>
                <c:pt idx="2760">
                  <c:v>11141.991</c:v>
                </c:pt>
                <c:pt idx="2761">
                  <c:v>11140.303</c:v>
                </c:pt>
                <c:pt idx="2762">
                  <c:v>11139.812000000002</c:v>
                </c:pt>
                <c:pt idx="2763">
                  <c:v>11137.722000000011</c:v>
                </c:pt>
                <c:pt idx="2764">
                  <c:v>11134.129999999986</c:v>
                </c:pt>
                <c:pt idx="2765">
                  <c:v>11132.946000000002</c:v>
                </c:pt>
                <c:pt idx="2766">
                  <c:v>11132.32</c:v>
                </c:pt>
                <c:pt idx="2767">
                  <c:v>11129.311</c:v>
                </c:pt>
                <c:pt idx="2768">
                  <c:v>11126.192000000006</c:v>
                </c:pt>
                <c:pt idx="2769">
                  <c:v>11119.628000000002</c:v>
                </c:pt>
                <c:pt idx="2770">
                  <c:v>11114.525</c:v>
                </c:pt>
                <c:pt idx="2771">
                  <c:v>11113.602000000004</c:v>
                </c:pt>
                <c:pt idx="2772">
                  <c:v>11113.270999999988</c:v>
                </c:pt>
                <c:pt idx="2773">
                  <c:v>11110.375999999978</c:v>
                </c:pt>
                <c:pt idx="2774">
                  <c:v>11109.113000000008</c:v>
                </c:pt>
                <c:pt idx="2775">
                  <c:v>11108.081</c:v>
                </c:pt>
                <c:pt idx="2776">
                  <c:v>11103.343999999988</c:v>
                </c:pt>
                <c:pt idx="2777">
                  <c:v>11100.469000000001</c:v>
                </c:pt>
                <c:pt idx="2778">
                  <c:v>11090.29200000001</c:v>
                </c:pt>
                <c:pt idx="2779">
                  <c:v>11085.309000000001</c:v>
                </c:pt>
                <c:pt idx="2780">
                  <c:v>11084.313999999986</c:v>
                </c:pt>
                <c:pt idx="2781">
                  <c:v>11084.237000000006</c:v>
                </c:pt>
                <c:pt idx="2782">
                  <c:v>11074.950999999979</c:v>
                </c:pt>
                <c:pt idx="2783">
                  <c:v>11073.720999999989</c:v>
                </c:pt>
                <c:pt idx="2784">
                  <c:v>11068.143000000011</c:v>
                </c:pt>
                <c:pt idx="2785">
                  <c:v>11056.441000000004</c:v>
                </c:pt>
                <c:pt idx="2786">
                  <c:v>11051.397000000001</c:v>
                </c:pt>
                <c:pt idx="2787">
                  <c:v>11044.911</c:v>
                </c:pt>
                <c:pt idx="2788">
                  <c:v>11042.986000000001</c:v>
                </c:pt>
                <c:pt idx="2789">
                  <c:v>11042.616000000002</c:v>
                </c:pt>
                <c:pt idx="2790">
                  <c:v>11037.637999999988</c:v>
                </c:pt>
                <c:pt idx="2791">
                  <c:v>11036.935000000001</c:v>
                </c:pt>
                <c:pt idx="2792">
                  <c:v>11033.911</c:v>
                </c:pt>
                <c:pt idx="2793">
                  <c:v>11033.766</c:v>
                </c:pt>
                <c:pt idx="2794">
                  <c:v>11030.467000000001</c:v>
                </c:pt>
                <c:pt idx="2795">
                  <c:v>11025.918</c:v>
                </c:pt>
                <c:pt idx="2796">
                  <c:v>11022.69400000001</c:v>
                </c:pt>
                <c:pt idx="2797">
                  <c:v>11010.320000000002</c:v>
                </c:pt>
                <c:pt idx="2798">
                  <c:v>11010.316000000003</c:v>
                </c:pt>
                <c:pt idx="2799">
                  <c:v>11002.523999999989</c:v>
                </c:pt>
                <c:pt idx="2800">
                  <c:v>11002.486000000001</c:v>
                </c:pt>
                <c:pt idx="2801">
                  <c:v>11002.196</c:v>
                </c:pt>
                <c:pt idx="2802">
                  <c:v>10994.753999999988</c:v>
                </c:pt>
                <c:pt idx="2803">
                  <c:v>10989.927</c:v>
                </c:pt>
                <c:pt idx="2804">
                  <c:v>10989.387999999979</c:v>
                </c:pt>
                <c:pt idx="2805">
                  <c:v>10981.891</c:v>
                </c:pt>
                <c:pt idx="2806">
                  <c:v>10980.646000000002</c:v>
                </c:pt>
                <c:pt idx="2807">
                  <c:v>10978.423999999988</c:v>
                </c:pt>
                <c:pt idx="2808">
                  <c:v>10975.626999999988</c:v>
                </c:pt>
                <c:pt idx="2809">
                  <c:v>10975.351999999979</c:v>
                </c:pt>
                <c:pt idx="2810">
                  <c:v>10973.731000000013</c:v>
                </c:pt>
                <c:pt idx="2811">
                  <c:v>10968.560000000001</c:v>
                </c:pt>
                <c:pt idx="2812">
                  <c:v>10963.770999999988</c:v>
                </c:pt>
                <c:pt idx="2813">
                  <c:v>10962.162</c:v>
                </c:pt>
                <c:pt idx="2814">
                  <c:v>10959.242000000011</c:v>
                </c:pt>
                <c:pt idx="2815">
                  <c:v>10957.848</c:v>
                </c:pt>
                <c:pt idx="2816">
                  <c:v>10956.503000000002</c:v>
                </c:pt>
                <c:pt idx="2817">
                  <c:v>10953.829</c:v>
                </c:pt>
                <c:pt idx="2818">
                  <c:v>10953.56</c:v>
                </c:pt>
                <c:pt idx="2819">
                  <c:v>10947.314</c:v>
                </c:pt>
                <c:pt idx="2820">
                  <c:v>10944.54200000001</c:v>
                </c:pt>
                <c:pt idx="2821">
                  <c:v>10943.687000000002</c:v>
                </c:pt>
                <c:pt idx="2822">
                  <c:v>10942.180999999988</c:v>
                </c:pt>
                <c:pt idx="2823">
                  <c:v>10939.260999999988</c:v>
                </c:pt>
                <c:pt idx="2824">
                  <c:v>10934.928</c:v>
                </c:pt>
                <c:pt idx="2825">
                  <c:v>10923.012999999988</c:v>
                </c:pt>
                <c:pt idx="2826">
                  <c:v>10922.068000000001</c:v>
                </c:pt>
                <c:pt idx="2827">
                  <c:v>10919.811999999984</c:v>
                </c:pt>
                <c:pt idx="2828">
                  <c:v>10918.424999999988</c:v>
                </c:pt>
                <c:pt idx="2829">
                  <c:v>10910.973</c:v>
                </c:pt>
                <c:pt idx="2830">
                  <c:v>10909.342000000002</c:v>
                </c:pt>
                <c:pt idx="2831">
                  <c:v>10901.28</c:v>
                </c:pt>
                <c:pt idx="2832">
                  <c:v>10886.687</c:v>
                </c:pt>
                <c:pt idx="2833">
                  <c:v>10883.075000000001</c:v>
                </c:pt>
                <c:pt idx="2834">
                  <c:v>10882.854999999983</c:v>
                </c:pt>
                <c:pt idx="2835">
                  <c:v>10876.619000000002</c:v>
                </c:pt>
                <c:pt idx="2836">
                  <c:v>10869.359999999981</c:v>
                </c:pt>
                <c:pt idx="2837">
                  <c:v>10866.317999999981</c:v>
                </c:pt>
                <c:pt idx="2838">
                  <c:v>10863.716</c:v>
                </c:pt>
                <c:pt idx="2839">
                  <c:v>10854.432000000004</c:v>
                </c:pt>
                <c:pt idx="2840">
                  <c:v>10848.300999999983</c:v>
                </c:pt>
                <c:pt idx="2841">
                  <c:v>10844.128999999988</c:v>
                </c:pt>
                <c:pt idx="2842">
                  <c:v>10842.77</c:v>
                </c:pt>
                <c:pt idx="2843">
                  <c:v>10837.814</c:v>
                </c:pt>
                <c:pt idx="2844">
                  <c:v>10836.573</c:v>
                </c:pt>
                <c:pt idx="2845">
                  <c:v>10836.314999999988</c:v>
                </c:pt>
                <c:pt idx="2846">
                  <c:v>10834.468000000001</c:v>
                </c:pt>
                <c:pt idx="2847">
                  <c:v>10831.273999999989</c:v>
                </c:pt>
                <c:pt idx="2848">
                  <c:v>10827.448</c:v>
                </c:pt>
                <c:pt idx="2849">
                  <c:v>10824.18</c:v>
                </c:pt>
                <c:pt idx="2850">
                  <c:v>10824.101000000002</c:v>
                </c:pt>
                <c:pt idx="2851">
                  <c:v>10821.300999999983</c:v>
                </c:pt>
                <c:pt idx="2852">
                  <c:v>10820.971</c:v>
                </c:pt>
                <c:pt idx="2853">
                  <c:v>10817.891000000001</c:v>
                </c:pt>
                <c:pt idx="2854">
                  <c:v>10805.122000000008</c:v>
                </c:pt>
                <c:pt idx="2855">
                  <c:v>10801.596000000001</c:v>
                </c:pt>
                <c:pt idx="2856">
                  <c:v>10801.423999999988</c:v>
                </c:pt>
                <c:pt idx="2857">
                  <c:v>10799.51</c:v>
                </c:pt>
                <c:pt idx="2858">
                  <c:v>10799.093000000004</c:v>
                </c:pt>
                <c:pt idx="2859">
                  <c:v>10792.643000000011</c:v>
                </c:pt>
                <c:pt idx="2860">
                  <c:v>10792.603000000006</c:v>
                </c:pt>
                <c:pt idx="2861">
                  <c:v>10790.306999999979</c:v>
                </c:pt>
                <c:pt idx="2862">
                  <c:v>10788.641000000011</c:v>
                </c:pt>
                <c:pt idx="2863">
                  <c:v>10784.186</c:v>
                </c:pt>
                <c:pt idx="2864">
                  <c:v>10773.720000000008</c:v>
                </c:pt>
                <c:pt idx="2865">
                  <c:v>10773.375999999978</c:v>
                </c:pt>
                <c:pt idx="2866">
                  <c:v>10767.235000000002</c:v>
                </c:pt>
                <c:pt idx="2867">
                  <c:v>10764.217000000002</c:v>
                </c:pt>
                <c:pt idx="2868">
                  <c:v>10762.438</c:v>
                </c:pt>
                <c:pt idx="2869">
                  <c:v>10761.286</c:v>
                </c:pt>
                <c:pt idx="2870">
                  <c:v>10755.012000000002</c:v>
                </c:pt>
                <c:pt idx="2871">
                  <c:v>10744.66</c:v>
                </c:pt>
                <c:pt idx="2872">
                  <c:v>10744.198999999988</c:v>
                </c:pt>
                <c:pt idx="2873">
                  <c:v>10740.231000000011</c:v>
                </c:pt>
                <c:pt idx="2874">
                  <c:v>10739.401</c:v>
                </c:pt>
                <c:pt idx="2875">
                  <c:v>10736.241000000013</c:v>
                </c:pt>
                <c:pt idx="2876">
                  <c:v>10735.325000000001</c:v>
                </c:pt>
                <c:pt idx="2877">
                  <c:v>10730.575000000001</c:v>
                </c:pt>
                <c:pt idx="2878">
                  <c:v>10727.874999999985</c:v>
                </c:pt>
                <c:pt idx="2879">
                  <c:v>10725.525000000001</c:v>
                </c:pt>
                <c:pt idx="2880">
                  <c:v>10721.240000000013</c:v>
                </c:pt>
                <c:pt idx="2881">
                  <c:v>10720.231000000011</c:v>
                </c:pt>
                <c:pt idx="2882">
                  <c:v>10717.216</c:v>
                </c:pt>
                <c:pt idx="2883">
                  <c:v>10715.02400000001</c:v>
                </c:pt>
                <c:pt idx="2884">
                  <c:v>10711.849999999989</c:v>
                </c:pt>
                <c:pt idx="2885">
                  <c:v>10705.109000000002</c:v>
                </c:pt>
                <c:pt idx="2886">
                  <c:v>10705.043000000011</c:v>
                </c:pt>
                <c:pt idx="2887">
                  <c:v>10702.853000000001</c:v>
                </c:pt>
                <c:pt idx="2888">
                  <c:v>10701.403999999988</c:v>
                </c:pt>
                <c:pt idx="2889">
                  <c:v>10690.954999999987</c:v>
                </c:pt>
                <c:pt idx="2890">
                  <c:v>10689.583999999988</c:v>
                </c:pt>
                <c:pt idx="2891">
                  <c:v>10688.031999999988</c:v>
                </c:pt>
                <c:pt idx="2892">
                  <c:v>10685.985000000001</c:v>
                </c:pt>
                <c:pt idx="2893">
                  <c:v>10683.089</c:v>
                </c:pt>
                <c:pt idx="2894">
                  <c:v>10680.776000000002</c:v>
                </c:pt>
                <c:pt idx="2895">
                  <c:v>10680.564</c:v>
                </c:pt>
                <c:pt idx="2896">
                  <c:v>10677.424000000006</c:v>
                </c:pt>
                <c:pt idx="2897">
                  <c:v>10674.261</c:v>
                </c:pt>
                <c:pt idx="2898">
                  <c:v>10674.03</c:v>
                </c:pt>
                <c:pt idx="2899">
                  <c:v>10670.375999999978</c:v>
                </c:pt>
                <c:pt idx="2900">
                  <c:v>10668.113000000008</c:v>
                </c:pt>
                <c:pt idx="2901">
                  <c:v>10659.586999999981</c:v>
                </c:pt>
                <c:pt idx="2902">
                  <c:v>10657.922999999988</c:v>
                </c:pt>
                <c:pt idx="2903">
                  <c:v>10656.084000000004</c:v>
                </c:pt>
                <c:pt idx="2904">
                  <c:v>10654.206</c:v>
                </c:pt>
                <c:pt idx="2905">
                  <c:v>10652.548000000004</c:v>
                </c:pt>
                <c:pt idx="2906">
                  <c:v>10649.168000000001</c:v>
                </c:pt>
                <c:pt idx="2907">
                  <c:v>10638.707</c:v>
                </c:pt>
                <c:pt idx="2908">
                  <c:v>10631.227000000004</c:v>
                </c:pt>
                <c:pt idx="2909">
                  <c:v>10623.392</c:v>
                </c:pt>
                <c:pt idx="2910">
                  <c:v>10619.054</c:v>
                </c:pt>
                <c:pt idx="2911">
                  <c:v>10617.892</c:v>
                </c:pt>
                <c:pt idx="2912">
                  <c:v>10609.255999999981</c:v>
                </c:pt>
                <c:pt idx="2913">
                  <c:v>10605.436000000002</c:v>
                </c:pt>
                <c:pt idx="2914">
                  <c:v>10604.089000000002</c:v>
                </c:pt>
                <c:pt idx="2915">
                  <c:v>10602.303999999986</c:v>
                </c:pt>
                <c:pt idx="2916">
                  <c:v>10601.193000000008</c:v>
                </c:pt>
                <c:pt idx="2917">
                  <c:v>10598.464</c:v>
                </c:pt>
                <c:pt idx="2918">
                  <c:v>10593.274999999991</c:v>
                </c:pt>
                <c:pt idx="2919">
                  <c:v>10591.798000000004</c:v>
                </c:pt>
                <c:pt idx="2920">
                  <c:v>10583.57</c:v>
                </c:pt>
                <c:pt idx="2921">
                  <c:v>10581.413</c:v>
                </c:pt>
                <c:pt idx="2922">
                  <c:v>10579.669</c:v>
                </c:pt>
                <c:pt idx="2923">
                  <c:v>10578.630999999988</c:v>
                </c:pt>
                <c:pt idx="2924">
                  <c:v>10571.026</c:v>
                </c:pt>
                <c:pt idx="2925">
                  <c:v>10570.831000000002</c:v>
                </c:pt>
                <c:pt idx="2926">
                  <c:v>10568.569</c:v>
                </c:pt>
                <c:pt idx="2927">
                  <c:v>10567.921</c:v>
                </c:pt>
                <c:pt idx="2928">
                  <c:v>10566.518999999986</c:v>
                </c:pt>
                <c:pt idx="2929">
                  <c:v>10566.280999999988</c:v>
                </c:pt>
                <c:pt idx="2930">
                  <c:v>10564.132000000012</c:v>
                </c:pt>
                <c:pt idx="2931">
                  <c:v>10563.618999999988</c:v>
                </c:pt>
                <c:pt idx="2932">
                  <c:v>10562.150999999983</c:v>
                </c:pt>
                <c:pt idx="2933">
                  <c:v>10561.778999999988</c:v>
                </c:pt>
                <c:pt idx="2934">
                  <c:v>10560.218000000004</c:v>
                </c:pt>
                <c:pt idx="2935">
                  <c:v>10558.753000000002</c:v>
                </c:pt>
                <c:pt idx="2936">
                  <c:v>10557.916000000001</c:v>
                </c:pt>
                <c:pt idx="2937">
                  <c:v>10553.618999999988</c:v>
                </c:pt>
                <c:pt idx="2938">
                  <c:v>10552.063</c:v>
                </c:pt>
                <c:pt idx="2939">
                  <c:v>10548.171</c:v>
                </c:pt>
                <c:pt idx="2940">
                  <c:v>10545.074999999988</c:v>
                </c:pt>
                <c:pt idx="2941">
                  <c:v>10543.775000000001</c:v>
                </c:pt>
                <c:pt idx="2942">
                  <c:v>10543.630000000006</c:v>
                </c:pt>
                <c:pt idx="2943">
                  <c:v>10542.003999999988</c:v>
                </c:pt>
                <c:pt idx="2944">
                  <c:v>10541.689999999988</c:v>
                </c:pt>
                <c:pt idx="2945">
                  <c:v>10539.240000000011</c:v>
                </c:pt>
                <c:pt idx="2946">
                  <c:v>10538.541999999989</c:v>
                </c:pt>
                <c:pt idx="2947">
                  <c:v>10537.243000000013</c:v>
                </c:pt>
                <c:pt idx="2948">
                  <c:v>10532.878000000001</c:v>
                </c:pt>
                <c:pt idx="2949">
                  <c:v>10531.744000000013</c:v>
                </c:pt>
                <c:pt idx="2950">
                  <c:v>10530.304999999988</c:v>
                </c:pt>
                <c:pt idx="2951">
                  <c:v>10526.279</c:v>
                </c:pt>
                <c:pt idx="2952">
                  <c:v>10524.991999999986</c:v>
                </c:pt>
                <c:pt idx="2953">
                  <c:v>10519.838999999984</c:v>
                </c:pt>
                <c:pt idx="2954">
                  <c:v>10514.92</c:v>
                </c:pt>
                <c:pt idx="2955">
                  <c:v>10507.201999999988</c:v>
                </c:pt>
                <c:pt idx="2956">
                  <c:v>10503.984</c:v>
                </c:pt>
                <c:pt idx="2957">
                  <c:v>10501.565000000001</c:v>
                </c:pt>
                <c:pt idx="2958">
                  <c:v>10493.53</c:v>
                </c:pt>
                <c:pt idx="2959">
                  <c:v>10485.567000000001</c:v>
                </c:pt>
                <c:pt idx="2960">
                  <c:v>10483.545</c:v>
                </c:pt>
                <c:pt idx="2961">
                  <c:v>10479.501</c:v>
                </c:pt>
                <c:pt idx="2962">
                  <c:v>10479.132000000011</c:v>
                </c:pt>
                <c:pt idx="2963">
                  <c:v>10477.285</c:v>
                </c:pt>
                <c:pt idx="2964">
                  <c:v>10476.529</c:v>
                </c:pt>
                <c:pt idx="2965">
                  <c:v>10469.753999999988</c:v>
                </c:pt>
                <c:pt idx="2966">
                  <c:v>10467.725</c:v>
                </c:pt>
                <c:pt idx="2967">
                  <c:v>10465.370999999981</c:v>
                </c:pt>
                <c:pt idx="2968">
                  <c:v>10465.262999999988</c:v>
                </c:pt>
                <c:pt idx="2969">
                  <c:v>10464.347000000002</c:v>
                </c:pt>
                <c:pt idx="2970">
                  <c:v>10460.418</c:v>
                </c:pt>
                <c:pt idx="2971">
                  <c:v>10448.089000000002</c:v>
                </c:pt>
                <c:pt idx="2972">
                  <c:v>10445.923999999988</c:v>
                </c:pt>
                <c:pt idx="2973">
                  <c:v>10445.329</c:v>
                </c:pt>
                <c:pt idx="2974">
                  <c:v>10442.163000000002</c:v>
                </c:pt>
                <c:pt idx="2975">
                  <c:v>10440.99</c:v>
                </c:pt>
                <c:pt idx="2976">
                  <c:v>10440.552000000001</c:v>
                </c:pt>
                <c:pt idx="2977">
                  <c:v>10436.925999999983</c:v>
                </c:pt>
                <c:pt idx="2978">
                  <c:v>10431.719999999988</c:v>
                </c:pt>
                <c:pt idx="2979">
                  <c:v>10430.706999999988</c:v>
                </c:pt>
                <c:pt idx="2980">
                  <c:v>10424.269</c:v>
                </c:pt>
                <c:pt idx="2981">
                  <c:v>10422.769</c:v>
                </c:pt>
                <c:pt idx="2982">
                  <c:v>10421.681</c:v>
                </c:pt>
                <c:pt idx="2983">
                  <c:v>10419.413</c:v>
                </c:pt>
                <c:pt idx="2984">
                  <c:v>10418.515000000001</c:v>
                </c:pt>
                <c:pt idx="2985">
                  <c:v>10414.333000000002</c:v>
                </c:pt>
                <c:pt idx="2986">
                  <c:v>10406.295</c:v>
                </c:pt>
                <c:pt idx="2987">
                  <c:v>10402.731000000011</c:v>
                </c:pt>
                <c:pt idx="2988">
                  <c:v>10402.534000000011</c:v>
                </c:pt>
                <c:pt idx="2989">
                  <c:v>10401.743000000011</c:v>
                </c:pt>
                <c:pt idx="2990">
                  <c:v>10399.494000000002</c:v>
                </c:pt>
                <c:pt idx="2991">
                  <c:v>10388.370000000003</c:v>
                </c:pt>
                <c:pt idx="2992">
                  <c:v>10387.054999999988</c:v>
                </c:pt>
                <c:pt idx="2993">
                  <c:v>10385.385999999977</c:v>
                </c:pt>
                <c:pt idx="2994">
                  <c:v>10381.874999999989</c:v>
                </c:pt>
                <c:pt idx="2995">
                  <c:v>10380.938000000002</c:v>
                </c:pt>
                <c:pt idx="2996">
                  <c:v>10380.256000000001</c:v>
                </c:pt>
                <c:pt idx="2997">
                  <c:v>10377.065000000001</c:v>
                </c:pt>
                <c:pt idx="2998">
                  <c:v>10372.764000000006</c:v>
                </c:pt>
                <c:pt idx="2999">
                  <c:v>10365.98</c:v>
                </c:pt>
                <c:pt idx="3000">
                  <c:v>10364.063</c:v>
                </c:pt>
                <c:pt idx="3001">
                  <c:v>10361.751</c:v>
                </c:pt>
                <c:pt idx="3002">
                  <c:v>10360.629999999988</c:v>
                </c:pt>
                <c:pt idx="3003">
                  <c:v>10358.199999999988</c:v>
                </c:pt>
                <c:pt idx="3004">
                  <c:v>10356.004999999988</c:v>
                </c:pt>
                <c:pt idx="3005">
                  <c:v>10351.589999999986</c:v>
                </c:pt>
                <c:pt idx="3006">
                  <c:v>10349.974</c:v>
                </c:pt>
                <c:pt idx="3007">
                  <c:v>10344.402</c:v>
                </c:pt>
                <c:pt idx="3008">
                  <c:v>10337.23000000001</c:v>
                </c:pt>
                <c:pt idx="3009">
                  <c:v>10336.511999999988</c:v>
                </c:pt>
                <c:pt idx="3010">
                  <c:v>10327.916999999983</c:v>
                </c:pt>
                <c:pt idx="3011">
                  <c:v>10325.51</c:v>
                </c:pt>
                <c:pt idx="3012">
                  <c:v>10325.442999999988</c:v>
                </c:pt>
                <c:pt idx="3013">
                  <c:v>10324.880999999981</c:v>
                </c:pt>
                <c:pt idx="3014">
                  <c:v>10321.02400000001</c:v>
                </c:pt>
                <c:pt idx="3015">
                  <c:v>10321.015000000001</c:v>
                </c:pt>
                <c:pt idx="3016">
                  <c:v>10314.75</c:v>
                </c:pt>
                <c:pt idx="3017">
                  <c:v>10312.280000000002</c:v>
                </c:pt>
                <c:pt idx="3018">
                  <c:v>10299.075999999981</c:v>
                </c:pt>
                <c:pt idx="3019">
                  <c:v>10298.948</c:v>
                </c:pt>
                <c:pt idx="3020">
                  <c:v>10297.205999999986</c:v>
                </c:pt>
                <c:pt idx="3021">
                  <c:v>10296.771999999988</c:v>
                </c:pt>
                <c:pt idx="3022">
                  <c:v>10290.174000000006</c:v>
                </c:pt>
                <c:pt idx="3023">
                  <c:v>10281.504000000004</c:v>
                </c:pt>
                <c:pt idx="3024">
                  <c:v>10276.39</c:v>
                </c:pt>
                <c:pt idx="3025">
                  <c:v>10272.638999999988</c:v>
                </c:pt>
                <c:pt idx="3026">
                  <c:v>10271.733999999999</c:v>
                </c:pt>
                <c:pt idx="3027">
                  <c:v>10270.102999999988</c:v>
                </c:pt>
                <c:pt idx="3028">
                  <c:v>10269.582</c:v>
                </c:pt>
                <c:pt idx="3029">
                  <c:v>10268.528999999988</c:v>
                </c:pt>
                <c:pt idx="3030">
                  <c:v>10266.468000000001</c:v>
                </c:pt>
                <c:pt idx="3031">
                  <c:v>10259.244000000013</c:v>
                </c:pt>
                <c:pt idx="3032">
                  <c:v>10256.643999999997</c:v>
                </c:pt>
                <c:pt idx="3033">
                  <c:v>10256.058999999981</c:v>
                </c:pt>
                <c:pt idx="3034">
                  <c:v>10251.952999999981</c:v>
                </c:pt>
                <c:pt idx="3035">
                  <c:v>10248.016</c:v>
                </c:pt>
                <c:pt idx="3036">
                  <c:v>10243.706</c:v>
                </c:pt>
                <c:pt idx="3037">
                  <c:v>10242.990999999985</c:v>
                </c:pt>
                <c:pt idx="3038">
                  <c:v>10236.349999999989</c:v>
                </c:pt>
                <c:pt idx="3039">
                  <c:v>10233.228999999988</c:v>
                </c:pt>
                <c:pt idx="3040">
                  <c:v>10233.023000000008</c:v>
                </c:pt>
                <c:pt idx="3041">
                  <c:v>10230.202000000008</c:v>
                </c:pt>
                <c:pt idx="3042">
                  <c:v>10224.013000000004</c:v>
                </c:pt>
                <c:pt idx="3043">
                  <c:v>10221.289000000002</c:v>
                </c:pt>
                <c:pt idx="3044">
                  <c:v>10216.455999999973</c:v>
                </c:pt>
                <c:pt idx="3045">
                  <c:v>10215.855999999976</c:v>
                </c:pt>
                <c:pt idx="3046">
                  <c:v>10211.128000000002</c:v>
                </c:pt>
                <c:pt idx="3047">
                  <c:v>10207.620000000004</c:v>
                </c:pt>
                <c:pt idx="3048">
                  <c:v>10205.467000000001</c:v>
                </c:pt>
                <c:pt idx="3049">
                  <c:v>10205.219000000006</c:v>
                </c:pt>
                <c:pt idx="3050">
                  <c:v>10201.743999999999</c:v>
                </c:pt>
                <c:pt idx="3051">
                  <c:v>10201.136999999988</c:v>
                </c:pt>
                <c:pt idx="3052">
                  <c:v>10190.708000000002</c:v>
                </c:pt>
                <c:pt idx="3053">
                  <c:v>10190.154999999988</c:v>
                </c:pt>
                <c:pt idx="3054">
                  <c:v>10185.700000000004</c:v>
                </c:pt>
                <c:pt idx="3055">
                  <c:v>10184.654</c:v>
                </c:pt>
                <c:pt idx="3056">
                  <c:v>10181.401</c:v>
                </c:pt>
                <c:pt idx="3057">
                  <c:v>10181.271000000002</c:v>
                </c:pt>
                <c:pt idx="3058">
                  <c:v>10180.749999999995</c:v>
                </c:pt>
                <c:pt idx="3059">
                  <c:v>10178.119000000002</c:v>
                </c:pt>
                <c:pt idx="3060">
                  <c:v>10173.167000000001</c:v>
                </c:pt>
                <c:pt idx="3061">
                  <c:v>10164.673999999988</c:v>
                </c:pt>
                <c:pt idx="3062">
                  <c:v>10164.091999999988</c:v>
                </c:pt>
                <c:pt idx="3063">
                  <c:v>10161.134000000011</c:v>
                </c:pt>
                <c:pt idx="3064">
                  <c:v>10158.633000000013</c:v>
                </c:pt>
                <c:pt idx="3065">
                  <c:v>10153.652</c:v>
                </c:pt>
                <c:pt idx="3066">
                  <c:v>10151.96599999998</c:v>
                </c:pt>
                <c:pt idx="3067">
                  <c:v>10151.44400000001</c:v>
                </c:pt>
                <c:pt idx="3068">
                  <c:v>10151.21200000001</c:v>
                </c:pt>
                <c:pt idx="3069">
                  <c:v>10148.526</c:v>
                </c:pt>
                <c:pt idx="3070">
                  <c:v>10148.09</c:v>
                </c:pt>
                <c:pt idx="3071">
                  <c:v>10141.537</c:v>
                </c:pt>
                <c:pt idx="3072">
                  <c:v>10141.362000000001</c:v>
                </c:pt>
                <c:pt idx="3073">
                  <c:v>10140.389000000001</c:v>
                </c:pt>
                <c:pt idx="3074">
                  <c:v>10140.125</c:v>
                </c:pt>
                <c:pt idx="3075">
                  <c:v>10137.124000000011</c:v>
                </c:pt>
                <c:pt idx="3076">
                  <c:v>10134.636</c:v>
                </c:pt>
                <c:pt idx="3077">
                  <c:v>10124.645999999988</c:v>
                </c:pt>
                <c:pt idx="3078">
                  <c:v>10115.743999999999</c:v>
                </c:pt>
                <c:pt idx="3079">
                  <c:v>10114.377999999979</c:v>
                </c:pt>
                <c:pt idx="3080">
                  <c:v>10111.536999999986</c:v>
                </c:pt>
                <c:pt idx="3081">
                  <c:v>10111.030000000002</c:v>
                </c:pt>
                <c:pt idx="3082">
                  <c:v>10105.788</c:v>
                </c:pt>
                <c:pt idx="3083">
                  <c:v>10096.201000000006</c:v>
                </c:pt>
                <c:pt idx="3084">
                  <c:v>10094.713000000011</c:v>
                </c:pt>
                <c:pt idx="3085">
                  <c:v>10092.004000000004</c:v>
                </c:pt>
                <c:pt idx="3086">
                  <c:v>10091.354999999983</c:v>
                </c:pt>
                <c:pt idx="3087">
                  <c:v>10091.287</c:v>
                </c:pt>
                <c:pt idx="3088">
                  <c:v>10090.311</c:v>
                </c:pt>
                <c:pt idx="3089">
                  <c:v>10083.308999999981</c:v>
                </c:pt>
                <c:pt idx="3090">
                  <c:v>10082.696</c:v>
                </c:pt>
                <c:pt idx="3091">
                  <c:v>10080.102000000004</c:v>
                </c:pt>
                <c:pt idx="3092">
                  <c:v>10078.365999999978</c:v>
                </c:pt>
                <c:pt idx="3093">
                  <c:v>10067.896000000001</c:v>
                </c:pt>
                <c:pt idx="3094">
                  <c:v>10060.642000000011</c:v>
                </c:pt>
                <c:pt idx="3095">
                  <c:v>10058.307999999981</c:v>
                </c:pt>
                <c:pt idx="3096">
                  <c:v>10056.447</c:v>
                </c:pt>
                <c:pt idx="3097">
                  <c:v>10053.805999999977</c:v>
                </c:pt>
                <c:pt idx="3098">
                  <c:v>10053.084000000004</c:v>
                </c:pt>
                <c:pt idx="3099">
                  <c:v>10052.320999999984</c:v>
                </c:pt>
                <c:pt idx="3100">
                  <c:v>10049.432000000004</c:v>
                </c:pt>
                <c:pt idx="3101">
                  <c:v>10047.179</c:v>
                </c:pt>
                <c:pt idx="3102">
                  <c:v>10044.939</c:v>
                </c:pt>
                <c:pt idx="3103">
                  <c:v>10041.037</c:v>
                </c:pt>
                <c:pt idx="3104">
                  <c:v>10040.459000000001</c:v>
                </c:pt>
                <c:pt idx="3105">
                  <c:v>10040.098</c:v>
                </c:pt>
                <c:pt idx="3106">
                  <c:v>10038.958000000001</c:v>
                </c:pt>
                <c:pt idx="3107">
                  <c:v>10038.675000000001</c:v>
                </c:pt>
                <c:pt idx="3108">
                  <c:v>10034.351000000001</c:v>
                </c:pt>
                <c:pt idx="3109">
                  <c:v>10031.35899999998</c:v>
                </c:pt>
                <c:pt idx="3110">
                  <c:v>10030.045</c:v>
                </c:pt>
                <c:pt idx="3111">
                  <c:v>10029.768999999986</c:v>
                </c:pt>
                <c:pt idx="3112">
                  <c:v>10016.769</c:v>
                </c:pt>
                <c:pt idx="3113">
                  <c:v>10016.66</c:v>
                </c:pt>
                <c:pt idx="3114">
                  <c:v>10015.600999999988</c:v>
                </c:pt>
                <c:pt idx="3115">
                  <c:v>10015.172445000011</c:v>
                </c:pt>
                <c:pt idx="3116">
                  <c:v>10007.752</c:v>
                </c:pt>
                <c:pt idx="3117">
                  <c:v>10000.470000000001</c:v>
                </c:pt>
                <c:pt idx="3118">
                  <c:v>10000.087</c:v>
                </c:pt>
                <c:pt idx="3119">
                  <c:v>9998.8589999999731</c:v>
                </c:pt>
                <c:pt idx="3120">
                  <c:v>9983.1459999999861</c:v>
                </c:pt>
                <c:pt idx="3121">
                  <c:v>9982.3089999999793</c:v>
                </c:pt>
                <c:pt idx="3122">
                  <c:v>9981.2969999999859</c:v>
                </c:pt>
                <c:pt idx="3123">
                  <c:v>9977.4759999999787</c:v>
                </c:pt>
                <c:pt idx="3124">
                  <c:v>9973.08</c:v>
                </c:pt>
                <c:pt idx="3125">
                  <c:v>9967.1330000000089</c:v>
                </c:pt>
                <c:pt idx="3126">
                  <c:v>9965.2820000000029</c:v>
                </c:pt>
                <c:pt idx="3127">
                  <c:v>9963.1340000000109</c:v>
                </c:pt>
                <c:pt idx="3128">
                  <c:v>9957.4669999999733</c:v>
                </c:pt>
                <c:pt idx="3129">
                  <c:v>9950.4230000000007</c:v>
                </c:pt>
                <c:pt idx="3130">
                  <c:v>9948.7070000000003</c:v>
                </c:pt>
                <c:pt idx="3131">
                  <c:v>9945.1890000000003</c:v>
                </c:pt>
                <c:pt idx="3132">
                  <c:v>9944.473</c:v>
                </c:pt>
                <c:pt idx="3133">
                  <c:v>9943.7390000000069</c:v>
                </c:pt>
                <c:pt idx="3134">
                  <c:v>9941.848</c:v>
                </c:pt>
                <c:pt idx="3135">
                  <c:v>9941.3589999999786</c:v>
                </c:pt>
                <c:pt idx="3136">
                  <c:v>9931.3739999999816</c:v>
                </c:pt>
                <c:pt idx="3137">
                  <c:v>9931.0119999999861</c:v>
                </c:pt>
                <c:pt idx="3138">
                  <c:v>9926.7859999999837</c:v>
                </c:pt>
                <c:pt idx="3139">
                  <c:v>9926.5390000000007</c:v>
                </c:pt>
                <c:pt idx="3140">
                  <c:v>9925.6440000000111</c:v>
                </c:pt>
                <c:pt idx="3141">
                  <c:v>9920.5210000000006</c:v>
                </c:pt>
                <c:pt idx="3142">
                  <c:v>9905.3820000000014</c:v>
                </c:pt>
                <c:pt idx="3143">
                  <c:v>9905.34</c:v>
                </c:pt>
                <c:pt idx="3144">
                  <c:v>9901.4439999999886</c:v>
                </c:pt>
                <c:pt idx="3145">
                  <c:v>9897.704999999989</c:v>
                </c:pt>
                <c:pt idx="3146">
                  <c:v>9896.6779999999835</c:v>
                </c:pt>
                <c:pt idx="3147">
                  <c:v>9887.6170000000002</c:v>
                </c:pt>
                <c:pt idx="3148">
                  <c:v>9885.6260000000002</c:v>
                </c:pt>
                <c:pt idx="3149">
                  <c:v>9884.3429999999862</c:v>
                </c:pt>
                <c:pt idx="3150">
                  <c:v>9878.3389999999836</c:v>
                </c:pt>
                <c:pt idx="3151">
                  <c:v>9875.101999999988</c:v>
                </c:pt>
                <c:pt idx="3152">
                  <c:v>9871.5339999999887</c:v>
                </c:pt>
                <c:pt idx="3153">
                  <c:v>9869.314999999986</c:v>
                </c:pt>
                <c:pt idx="3154">
                  <c:v>9862.5210000000006</c:v>
                </c:pt>
                <c:pt idx="3155">
                  <c:v>9862.4529999999795</c:v>
                </c:pt>
                <c:pt idx="3156">
                  <c:v>9862.2230000000109</c:v>
                </c:pt>
                <c:pt idx="3157">
                  <c:v>9862.1460000000006</c:v>
                </c:pt>
                <c:pt idx="3158">
                  <c:v>9858.3630000000012</c:v>
                </c:pt>
                <c:pt idx="3159">
                  <c:v>9847.8380000000016</c:v>
                </c:pt>
                <c:pt idx="3160">
                  <c:v>9839.9689999999791</c:v>
                </c:pt>
                <c:pt idx="3161">
                  <c:v>9839.2950000000001</c:v>
                </c:pt>
                <c:pt idx="3162">
                  <c:v>9835.7760000000017</c:v>
                </c:pt>
                <c:pt idx="3163">
                  <c:v>9834.8020000000015</c:v>
                </c:pt>
                <c:pt idx="3164">
                  <c:v>9831.2780000000002</c:v>
                </c:pt>
                <c:pt idx="3165">
                  <c:v>9826.823999999986</c:v>
                </c:pt>
                <c:pt idx="3166">
                  <c:v>9825.3360000000011</c:v>
                </c:pt>
                <c:pt idx="3167">
                  <c:v>9823.2510000000002</c:v>
                </c:pt>
                <c:pt idx="3168">
                  <c:v>9820.9499999999862</c:v>
                </c:pt>
                <c:pt idx="3169">
                  <c:v>9815.8769999999731</c:v>
                </c:pt>
                <c:pt idx="3170">
                  <c:v>9809.8959999999788</c:v>
                </c:pt>
                <c:pt idx="3171">
                  <c:v>9809.6939999999886</c:v>
                </c:pt>
                <c:pt idx="3172">
                  <c:v>9802.8629999999794</c:v>
                </c:pt>
                <c:pt idx="3173">
                  <c:v>9800.5079999999816</c:v>
                </c:pt>
                <c:pt idx="3174">
                  <c:v>9800.2549999999883</c:v>
                </c:pt>
                <c:pt idx="3175">
                  <c:v>9789.6040000000048</c:v>
                </c:pt>
                <c:pt idx="3176">
                  <c:v>9787.268</c:v>
                </c:pt>
                <c:pt idx="3177">
                  <c:v>9786.884</c:v>
                </c:pt>
                <c:pt idx="3178">
                  <c:v>9785.7960000000021</c:v>
                </c:pt>
                <c:pt idx="3179">
                  <c:v>9785.11</c:v>
                </c:pt>
                <c:pt idx="3180">
                  <c:v>9782.6579999999794</c:v>
                </c:pt>
                <c:pt idx="3181">
                  <c:v>9771.8549999999814</c:v>
                </c:pt>
                <c:pt idx="3182">
                  <c:v>9764.3969999999772</c:v>
                </c:pt>
                <c:pt idx="3183">
                  <c:v>9763.527</c:v>
                </c:pt>
                <c:pt idx="3184">
                  <c:v>9762.7919999999885</c:v>
                </c:pt>
                <c:pt idx="3185">
                  <c:v>9762.3789999999808</c:v>
                </c:pt>
                <c:pt idx="3186">
                  <c:v>9760.7490000000089</c:v>
                </c:pt>
                <c:pt idx="3187">
                  <c:v>9749.0099999999838</c:v>
                </c:pt>
                <c:pt idx="3188">
                  <c:v>9744.1359999999859</c:v>
                </c:pt>
                <c:pt idx="3189">
                  <c:v>9743.7119999999886</c:v>
                </c:pt>
                <c:pt idx="3190">
                  <c:v>9733.1320000000069</c:v>
                </c:pt>
                <c:pt idx="3191">
                  <c:v>9725.4209999999839</c:v>
                </c:pt>
                <c:pt idx="3192">
                  <c:v>9713.0920000000006</c:v>
                </c:pt>
                <c:pt idx="3193">
                  <c:v>9706.6540000000005</c:v>
                </c:pt>
                <c:pt idx="3194">
                  <c:v>9706.4859999999771</c:v>
                </c:pt>
                <c:pt idx="3195">
                  <c:v>9706.0789999999815</c:v>
                </c:pt>
                <c:pt idx="3196">
                  <c:v>9704.3509999999787</c:v>
                </c:pt>
                <c:pt idx="3197">
                  <c:v>9699.5970000000016</c:v>
                </c:pt>
                <c:pt idx="3198">
                  <c:v>9698.4170000000013</c:v>
                </c:pt>
                <c:pt idx="3199">
                  <c:v>9695.0540000000001</c:v>
                </c:pt>
                <c:pt idx="3200">
                  <c:v>9694.574999999988</c:v>
                </c:pt>
                <c:pt idx="3201">
                  <c:v>9681.5210000000006</c:v>
                </c:pt>
                <c:pt idx="3202">
                  <c:v>9679.7369999999883</c:v>
                </c:pt>
                <c:pt idx="3203">
                  <c:v>9679.509</c:v>
                </c:pt>
                <c:pt idx="3204">
                  <c:v>9679.098</c:v>
                </c:pt>
                <c:pt idx="3205">
                  <c:v>9674.2730000000029</c:v>
                </c:pt>
                <c:pt idx="3206">
                  <c:v>9672.6409999999887</c:v>
                </c:pt>
                <c:pt idx="3207">
                  <c:v>9669.3449999999884</c:v>
                </c:pt>
                <c:pt idx="3208">
                  <c:v>9667.6139999999887</c:v>
                </c:pt>
                <c:pt idx="3209">
                  <c:v>9664.0079999999816</c:v>
                </c:pt>
                <c:pt idx="3210">
                  <c:v>9663.1920000000009</c:v>
                </c:pt>
                <c:pt idx="3211">
                  <c:v>9662.9449999999888</c:v>
                </c:pt>
                <c:pt idx="3212">
                  <c:v>9662.3220000000001</c:v>
                </c:pt>
                <c:pt idx="3213">
                  <c:v>9658.5499999999884</c:v>
                </c:pt>
                <c:pt idx="3214">
                  <c:v>9655.1949999999888</c:v>
                </c:pt>
                <c:pt idx="3215">
                  <c:v>9653.482</c:v>
                </c:pt>
                <c:pt idx="3216">
                  <c:v>9646.7119999999886</c:v>
                </c:pt>
                <c:pt idx="3217">
                  <c:v>9639.0990000000002</c:v>
                </c:pt>
                <c:pt idx="3218">
                  <c:v>9637.58</c:v>
                </c:pt>
                <c:pt idx="3219">
                  <c:v>9636.8709999999755</c:v>
                </c:pt>
                <c:pt idx="3220">
                  <c:v>9636.599999999984</c:v>
                </c:pt>
                <c:pt idx="3221">
                  <c:v>9630.0280000000002</c:v>
                </c:pt>
                <c:pt idx="3222">
                  <c:v>9626.7640000000029</c:v>
                </c:pt>
                <c:pt idx="3223">
                  <c:v>9626.3639999999814</c:v>
                </c:pt>
                <c:pt idx="3224">
                  <c:v>9623.7489999999889</c:v>
                </c:pt>
                <c:pt idx="3225">
                  <c:v>9622.7009999999882</c:v>
                </c:pt>
                <c:pt idx="3226">
                  <c:v>9622.6620000000021</c:v>
                </c:pt>
                <c:pt idx="3227">
                  <c:v>9620.0519999999815</c:v>
                </c:pt>
                <c:pt idx="3228">
                  <c:v>9612.6639999999861</c:v>
                </c:pt>
                <c:pt idx="3229">
                  <c:v>9607.5489999999882</c:v>
                </c:pt>
                <c:pt idx="3230">
                  <c:v>9603.8069999999789</c:v>
                </c:pt>
                <c:pt idx="3231">
                  <c:v>9603.0630000000001</c:v>
                </c:pt>
                <c:pt idx="3232">
                  <c:v>9600.0950000000012</c:v>
                </c:pt>
                <c:pt idx="3233">
                  <c:v>9597.707999999986</c:v>
                </c:pt>
                <c:pt idx="3234">
                  <c:v>9594.991</c:v>
                </c:pt>
                <c:pt idx="3235">
                  <c:v>9592.3529999999791</c:v>
                </c:pt>
                <c:pt idx="3236">
                  <c:v>9590.1239999999889</c:v>
                </c:pt>
                <c:pt idx="3237">
                  <c:v>9589.3649999999816</c:v>
                </c:pt>
                <c:pt idx="3238">
                  <c:v>9588.3339999999862</c:v>
                </c:pt>
                <c:pt idx="3239">
                  <c:v>9587.6170000000002</c:v>
                </c:pt>
                <c:pt idx="3240">
                  <c:v>9586.3759999999766</c:v>
                </c:pt>
                <c:pt idx="3241">
                  <c:v>9581.7890000000007</c:v>
                </c:pt>
                <c:pt idx="3242">
                  <c:v>9571.9329999999882</c:v>
                </c:pt>
                <c:pt idx="3243">
                  <c:v>9571.3230000000021</c:v>
                </c:pt>
                <c:pt idx="3244">
                  <c:v>9556.6790000000001</c:v>
                </c:pt>
                <c:pt idx="3245">
                  <c:v>9556.4949999999881</c:v>
                </c:pt>
                <c:pt idx="3246">
                  <c:v>9555.0589999999793</c:v>
                </c:pt>
                <c:pt idx="3247">
                  <c:v>9554.3119999999835</c:v>
                </c:pt>
                <c:pt idx="3248">
                  <c:v>9554.0979999999818</c:v>
                </c:pt>
                <c:pt idx="3249">
                  <c:v>9552.6970000000001</c:v>
                </c:pt>
                <c:pt idx="3250">
                  <c:v>9552.152</c:v>
                </c:pt>
                <c:pt idx="3251">
                  <c:v>9535.9040000000005</c:v>
                </c:pt>
                <c:pt idx="3252">
                  <c:v>9520.4450000000015</c:v>
                </c:pt>
                <c:pt idx="3253">
                  <c:v>9516.9699999999793</c:v>
                </c:pt>
                <c:pt idx="3254">
                  <c:v>9515.3009999999795</c:v>
                </c:pt>
                <c:pt idx="3255">
                  <c:v>9514.3179999999793</c:v>
                </c:pt>
                <c:pt idx="3256">
                  <c:v>9513.6450000000004</c:v>
                </c:pt>
                <c:pt idx="3257">
                  <c:v>9508.1440000000111</c:v>
                </c:pt>
                <c:pt idx="3258">
                  <c:v>9502.3779999999733</c:v>
                </c:pt>
                <c:pt idx="3259">
                  <c:v>9500.6239999999889</c:v>
                </c:pt>
                <c:pt idx="3260">
                  <c:v>9495.4920000000002</c:v>
                </c:pt>
                <c:pt idx="3261">
                  <c:v>9492.1070000000018</c:v>
                </c:pt>
                <c:pt idx="3262">
                  <c:v>9485.4759999999733</c:v>
                </c:pt>
                <c:pt idx="3263">
                  <c:v>9482.4160000000011</c:v>
                </c:pt>
                <c:pt idx="3264">
                  <c:v>9480.7759999999817</c:v>
                </c:pt>
                <c:pt idx="3265">
                  <c:v>9479.8719999999794</c:v>
                </c:pt>
                <c:pt idx="3266">
                  <c:v>9479.2260000000006</c:v>
                </c:pt>
                <c:pt idx="3267">
                  <c:v>9478.6039999999884</c:v>
                </c:pt>
                <c:pt idx="3268">
                  <c:v>9469.8719999999794</c:v>
                </c:pt>
                <c:pt idx="3269">
                  <c:v>9469.7119999999868</c:v>
                </c:pt>
                <c:pt idx="3270">
                  <c:v>9469.293999999989</c:v>
                </c:pt>
                <c:pt idx="3271">
                  <c:v>9461.1710000000003</c:v>
                </c:pt>
                <c:pt idx="3272">
                  <c:v>9460.0069999999814</c:v>
                </c:pt>
                <c:pt idx="3273">
                  <c:v>9456.6969999999837</c:v>
                </c:pt>
                <c:pt idx="3274">
                  <c:v>9454.601999999988</c:v>
                </c:pt>
                <c:pt idx="3275">
                  <c:v>9454.402</c:v>
                </c:pt>
                <c:pt idx="3276">
                  <c:v>9453.7919999999885</c:v>
                </c:pt>
                <c:pt idx="3277">
                  <c:v>9451.6679999999815</c:v>
                </c:pt>
                <c:pt idx="3278">
                  <c:v>9443.41</c:v>
                </c:pt>
                <c:pt idx="3279">
                  <c:v>9442.9599999999809</c:v>
                </c:pt>
                <c:pt idx="3280">
                  <c:v>9441.1319999999887</c:v>
                </c:pt>
                <c:pt idx="3281">
                  <c:v>9441.0629999999837</c:v>
                </c:pt>
                <c:pt idx="3282">
                  <c:v>9438.9070000000011</c:v>
                </c:pt>
                <c:pt idx="3283">
                  <c:v>9436.0540000000019</c:v>
                </c:pt>
                <c:pt idx="3284">
                  <c:v>9434.6460000000025</c:v>
                </c:pt>
                <c:pt idx="3285">
                  <c:v>9431.7320000000109</c:v>
                </c:pt>
                <c:pt idx="3286">
                  <c:v>9430.2170000000006</c:v>
                </c:pt>
                <c:pt idx="3287">
                  <c:v>9427.948999999986</c:v>
                </c:pt>
                <c:pt idx="3288">
                  <c:v>9427.0149999999885</c:v>
                </c:pt>
                <c:pt idx="3289">
                  <c:v>9426.1839999999884</c:v>
                </c:pt>
                <c:pt idx="3290">
                  <c:v>9416.331999999984</c:v>
                </c:pt>
                <c:pt idx="3291">
                  <c:v>9412.889000000001</c:v>
                </c:pt>
                <c:pt idx="3292">
                  <c:v>9411.5120000000006</c:v>
                </c:pt>
                <c:pt idx="3293">
                  <c:v>9405.8779999999733</c:v>
                </c:pt>
                <c:pt idx="3294">
                  <c:v>9405.1999999999862</c:v>
                </c:pt>
                <c:pt idx="3295">
                  <c:v>9403.9889999999814</c:v>
                </c:pt>
                <c:pt idx="3296">
                  <c:v>9403.1859999999815</c:v>
                </c:pt>
                <c:pt idx="3297">
                  <c:v>9395.1090000000004</c:v>
                </c:pt>
                <c:pt idx="3298">
                  <c:v>9392.1660000000011</c:v>
                </c:pt>
                <c:pt idx="3299">
                  <c:v>9388.9280000000017</c:v>
                </c:pt>
                <c:pt idx="3300">
                  <c:v>9388.2120000000068</c:v>
                </c:pt>
                <c:pt idx="3301">
                  <c:v>9382.8869999999788</c:v>
                </c:pt>
                <c:pt idx="3302">
                  <c:v>9382.4049999999879</c:v>
                </c:pt>
                <c:pt idx="3303">
                  <c:v>9374.5529999999835</c:v>
                </c:pt>
                <c:pt idx="3304">
                  <c:v>9373.0729999999839</c:v>
                </c:pt>
                <c:pt idx="3305">
                  <c:v>9372.393</c:v>
                </c:pt>
                <c:pt idx="3306">
                  <c:v>9368.69</c:v>
                </c:pt>
                <c:pt idx="3307">
                  <c:v>9368.6679999999815</c:v>
                </c:pt>
                <c:pt idx="3308">
                  <c:v>9367.8270000000011</c:v>
                </c:pt>
                <c:pt idx="3309">
                  <c:v>9367.5609999999815</c:v>
                </c:pt>
                <c:pt idx="3310">
                  <c:v>9366.2039999999888</c:v>
                </c:pt>
                <c:pt idx="3311">
                  <c:v>9363.3430000000008</c:v>
                </c:pt>
                <c:pt idx="3312">
                  <c:v>9359.6340000000109</c:v>
                </c:pt>
                <c:pt idx="3313">
                  <c:v>9356.1049999999886</c:v>
                </c:pt>
                <c:pt idx="3314">
                  <c:v>9352.5069999999814</c:v>
                </c:pt>
                <c:pt idx="3315">
                  <c:v>9351.5309999999881</c:v>
                </c:pt>
                <c:pt idx="3316">
                  <c:v>9350.0840000000007</c:v>
                </c:pt>
                <c:pt idx="3317">
                  <c:v>9349.5840000000026</c:v>
                </c:pt>
                <c:pt idx="3318">
                  <c:v>9346.2929999999888</c:v>
                </c:pt>
                <c:pt idx="3319">
                  <c:v>9344.9729999999818</c:v>
                </c:pt>
                <c:pt idx="3320">
                  <c:v>9341.6980000000003</c:v>
                </c:pt>
                <c:pt idx="3321">
                  <c:v>9341.6059999999816</c:v>
                </c:pt>
                <c:pt idx="3322">
                  <c:v>9336.8959999999788</c:v>
                </c:pt>
                <c:pt idx="3323">
                  <c:v>9334.4530000000013</c:v>
                </c:pt>
                <c:pt idx="3324">
                  <c:v>9329.6959999999835</c:v>
                </c:pt>
                <c:pt idx="3325">
                  <c:v>9320.1530000000002</c:v>
                </c:pt>
                <c:pt idx="3326">
                  <c:v>9309.41</c:v>
                </c:pt>
                <c:pt idx="3327">
                  <c:v>9308.9719999999816</c:v>
                </c:pt>
                <c:pt idx="3328">
                  <c:v>9305.0039999999881</c:v>
                </c:pt>
                <c:pt idx="3329">
                  <c:v>9303.6939999999886</c:v>
                </c:pt>
                <c:pt idx="3330">
                  <c:v>9302.7140000000109</c:v>
                </c:pt>
                <c:pt idx="3331">
                  <c:v>9293.9340000000029</c:v>
                </c:pt>
                <c:pt idx="3332">
                  <c:v>9291.9339999999884</c:v>
                </c:pt>
                <c:pt idx="3333">
                  <c:v>9290.0159999999814</c:v>
                </c:pt>
                <c:pt idx="3334">
                  <c:v>9288.3199999999815</c:v>
                </c:pt>
                <c:pt idx="3335">
                  <c:v>9287.2469999999885</c:v>
                </c:pt>
                <c:pt idx="3336">
                  <c:v>9285.9189999999835</c:v>
                </c:pt>
                <c:pt idx="3337">
                  <c:v>9283.18</c:v>
                </c:pt>
                <c:pt idx="3338">
                  <c:v>9279.277</c:v>
                </c:pt>
                <c:pt idx="3339">
                  <c:v>9277.3549999999832</c:v>
                </c:pt>
                <c:pt idx="3340">
                  <c:v>9276.644999999995</c:v>
                </c:pt>
                <c:pt idx="3341">
                  <c:v>9274.4559999999765</c:v>
                </c:pt>
                <c:pt idx="3342">
                  <c:v>9269.3159999999789</c:v>
                </c:pt>
                <c:pt idx="3343">
                  <c:v>9267.2570000000014</c:v>
                </c:pt>
                <c:pt idx="3344">
                  <c:v>9267.1329999999889</c:v>
                </c:pt>
                <c:pt idx="3345">
                  <c:v>9263.6029999999882</c:v>
                </c:pt>
                <c:pt idx="3346">
                  <c:v>9263.3089999999793</c:v>
                </c:pt>
                <c:pt idx="3347">
                  <c:v>9258.9659999999785</c:v>
                </c:pt>
                <c:pt idx="3348">
                  <c:v>9253.5810000000001</c:v>
                </c:pt>
                <c:pt idx="3349">
                  <c:v>9252.5419999999885</c:v>
                </c:pt>
                <c:pt idx="3350">
                  <c:v>9249.9659999999785</c:v>
                </c:pt>
                <c:pt idx="3351">
                  <c:v>9234.0859999999793</c:v>
                </c:pt>
                <c:pt idx="3352">
                  <c:v>9228.9699999999793</c:v>
                </c:pt>
                <c:pt idx="3353">
                  <c:v>9224.8909999999814</c:v>
                </c:pt>
                <c:pt idx="3354">
                  <c:v>9221.6260000000002</c:v>
                </c:pt>
                <c:pt idx="3355">
                  <c:v>9219.7469999999885</c:v>
                </c:pt>
                <c:pt idx="3356">
                  <c:v>9216.9380000000001</c:v>
                </c:pt>
                <c:pt idx="3357">
                  <c:v>9216.6090000000004</c:v>
                </c:pt>
                <c:pt idx="3358">
                  <c:v>9216.0969999999816</c:v>
                </c:pt>
                <c:pt idx="3359">
                  <c:v>9210.1830000000009</c:v>
                </c:pt>
                <c:pt idx="3360">
                  <c:v>9209.0729999999839</c:v>
                </c:pt>
                <c:pt idx="3361">
                  <c:v>9207.5779999999813</c:v>
                </c:pt>
                <c:pt idx="3362">
                  <c:v>9205.8609999999808</c:v>
                </c:pt>
                <c:pt idx="3363">
                  <c:v>9205.4520000000011</c:v>
                </c:pt>
                <c:pt idx="3364">
                  <c:v>9201.0489999999882</c:v>
                </c:pt>
                <c:pt idx="3365">
                  <c:v>9199.3809999999794</c:v>
                </c:pt>
                <c:pt idx="3366">
                  <c:v>9192.6380000000008</c:v>
                </c:pt>
                <c:pt idx="3367">
                  <c:v>9189.4430000000029</c:v>
                </c:pt>
                <c:pt idx="3368">
                  <c:v>9184.2340000000113</c:v>
                </c:pt>
                <c:pt idx="3369">
                  <c:v>9181.0620000000017</c:v>
                </c:pt>
                <c:pt idx="3370">
                  <c:v>9179.4149999999881</c:v>
                </c:pt>
                <c:pt idx="3371">
                  <c:v>9178.5020000000004</c:v>
                </c:pt>
                <c:pt idx="3372">
                  <c:v>9172.3579999999765</c:v>
                </c:pt>
                <c:pt idx="3373">
                  <c:v>9170.7670000000016</c:v>
                </c:pt>
                <c:pt idx="3374">
                  <c:v>9167.7360000000008</c:v>
                </c:pt>
                <c:pt idx="3375">
                  <c:v>9166.3769999999786</c:v>
                </c:pt>
                <c:pt idx="3376">
                  <c:v>9163.9599999999809</c:v>
                </c:pt>
                <c:pt idx="3377">
                  <c:v>9160.9840000000004</c:v>
                </c:pt>
                <c:pt idx="3378">
                  <c:v>9159.2909999999883</c:v>
                </c:pt>
                <c:pt idx="3379">
                  <c:v>9159.2909999999883</c:v>
                </c:pt>
                <c:pt idx="3380">
                  <c:v>9159.2909999999883</c:v>
                </c:pt>
                <c:pt idx="3381">
                  <c:v>9155.2150000000001</c:v>
                </c:pt>
                <c:pt idx="3382">
                  <c:v>9150.8069999999789</c:v>
                </c:pt>
                <c:pt idx="3383">
                  <c:v>9149.713999999989</c:v>
                </c:pt>
                <c:pt idx="3384">
                  <c:v>9149.4049999999861</c:v>
                </c:pt>
                <c:pt idx="3385">
                  <c:v>9146.0949999999884</c:v>
                </c:pt>
                <c:pt idx="3386">
                  <c:v>9144.5910000000003</c:v>
                </c:pt>
                <c:pt idx="3387">
                  <c:v>9135.6349999999911</c:v>
                </c:pt>
                <c:pt idx="3388">
                  <c:v>9133.3159999999789</c:v>
                </c:pt>
                <c:pt idx="3389">
                  <c:v>9132.9989999999816</c:v>
                </c:pt>
                <c:pt idx="3390">
                  <c:v>9131.608999999984</c:v>
                </c:pt>
                <c:pt idx="3391">
                  <c:v>9130.144999999995</c:v>
                </c:pt>
                <c:pt idx="3392">
                  <c:v>9125.5880000000016</c:v>
                </c:pt>
                <c:pt idx="3393">
                  <c:v>9123.449999999988</c:v>
                </c:pt>
                <c:pt idx="3394">
                  <c:v>9123.0519999999815</c:v>
                </c:pt>
                <c:pt idx="3395">
                  <c:v>9117.652</c:v>
                </c:pt>
                <c:pt idx="3396">
                  <c:v>9113.0840000000007</c:v>
                </c:pt>
                <c:pt idx="3397">
                  <c:v>9107.7260000000006</c:v>
                </c:pt>
                <c:pt idx="3398">
                  <c:v>9105.0071669999888</c:v>
                </c:pt>
                <c:pt idx="3399">
                  <c:v>9101.0169999999816</c:v>
                </c:pt>
                <c:pt idx="3400">
                  <c:v>9095.3859999999731</c:v>
                </c:pt>
                <c:pt idx="3401">
                  <c:v>9091.3049999999857</c:v>
                </c:pt>
                <c:pt idx="3402">
                  <c:v>9091.1580000000013</c:v>
                </c:pt>
                <c:pt idx="3403">
                  <c:v>9090.2020000000048</c:v>
                </c:pt>
                <c:pt idx="3404">
                  <c:v>9083.216999999986</c:v>
                </c:pt>
                <c:pt idx="3405">
                  <c:v>9070.9769999999808</c:v>
                </c:pt>
                <c:pt idx="3406">
                  <c:v>9070.6880000000001</c:v>
                </c:pt>
                <c:pt idx="3407">
                  <c:v>9065.2690000000002</c:v>
                </c:pt>
                <c:pt idx="3408">
                  <c:v>9059.2319999999891</c:v>
                </c:pt>
                <c:pt idx="3409">
                  <c:v>9054.2209999999886</c:v>
                </c:pt>
                <c:pt idx="3410">
                  <c:v>9048.0480000000007</c:v>
                </c:pt>
                <c:pt idx="3411">
                  <c:v>9044.5930000000008</c:v>
                </c:pt>
                <c:pt idx="3412">
                  <c:v>9040.2289999999884</c:v>
                </c:pt>
                <c:pt idx="3413">
                  <c:v>9039.9390000000003</c:v>
                </c:pt>
                <c:pt idx="3414">
                  <c:v>9036.7389999999887</c:v>
                </c:pt>
                <c:pt idx="3415">
                  <c:v>9036.1080000000002</c:v>
                </c:pt>
                <c:pt idx="3416">
                  <c:v>9035.5559999999787</c:v>
                </c:pt>
                <c:pt idx="3417">
                  <c:v>9034.8079999999809</c:v>
                </c:pt>
                <c:pt idx="3418">
                  <c:v>9033.5749999999862</c:v>
                </c:pt>
                <c:pt idx="3419">
                  <c:v>9033.0279999999839</c:v>
                </c:pt>
                <c:pt idx="3420">
                  <c:v>9029.6029999999882</c:v>
                </c:pt>
                <c:pt idx="3421">
                  <c:v>9028.3340000000007</c:v>
                </c:pt>
                <c:pt idx="3422">
                  <c:v>9028.1469999999881</c:v>
                </c:pt>
                <c:pt idx="3423">
                  <c:v>9026.6920000000009</c:v>
                </c:pt>
                <c:pt idx="3424">
                  <c:v>9022.2969999999859</c:v>
                </c:pt>
                <c:pt idx="3425">
                  <c:v>9014.9390000000003</c:v>
                </c:pt>
                <c:pt idx="3426">
                  <c:v>9013.3759999999766</c:v>
                </c:pt>
                <c:pt idx="3427">
                  <c:v>9012.4140000000007</c:v>
                </c:pt>
                <c:pt idx="3428">
                  <c:v>9010.5003889999971</c:v>
                </c:pt>
                <c:pt idx="3429">
                  <c:v>9006.8259999999773</c:v>
                </c:pt>
                <c:pt idx="3430">
                  <c:v>9002.755000000001</c:v>
                </c:pt>
                <c:pt idx="3431">
                  <c:v>9001.8539999999794</c:v>
                </c:pt>
                <c:pt idx="3432">
                  <c:v>8997.8679999999731</c:v>
                </c:pt>
                <c:pt idx="3433">
                  <c:v>8997.0469999999859</c:v>
                </c:pt>
                <c:pt idx="3434">
                  <c:v>8988.1710000000003</c:v>
                </c:pt>
                <c:pt idx="3435">
                  <c:v>8985.1239999999889</c:v>
                </c:pt>
                <c:pt idx="3436">
                  <c:v>8983.6640000000007</c:v>
                </c:pt>
                <c:pt idx="3437">
                  <c:v>8977.6219999999885</c:v>
                </c:pt>
                <c:pt idx="3438">
                  <c:v>8974.7320000000109</c:v>
                </c:pt>
                <c:pt idx="3439">
                  <c:v>8971.9930000000004</c:v>
                </c:pt>
                <c:pt idx="3440">
                  <c:v>8971.4930000000004</c:v>
                </c:pt>
                <c:pt idx="3441">
                  <c:v>8971.1090000000004</c:v>
                </c:pt>
                <c:pt idx="3442">
                  <c:v>8970.8879999999772</c:v>
                </c:pt>
                <c:pt idx="3443">
                  <c:v>8967.1490000000049</c:v>
                </c:pt>
                <c:pt idx="3444">
                  <c:v>8964.2230000000109</c:v>
                </c:pt>
                <c:pt idx="3445">
                  <c:v>8962.7360000000008</c:v>
                </c:pt>
                <c:pt idx="3446">
                  <c:v>8960.0259999999817</c:v>
                </c:pt>
                <c:pt idx="3447">
                  <c:v>8958.7750000000015</c:v>
                </c:pt>
                <c:pt idx="3448">
                  <c:v>8956.8859999999786</c:v>
                </c:pt>
                <c:pt idx="3449">
                  <c:v>8955.9429999999884</c:v>
                </c:pt>
                <c:pt idx="3450">
                  <c:v>8955.4329999999882</c:v>
                </c:pt>
                <c:pt idx="3451">
                  <c:v>8947.7890000000007</c:v>
                </c:pt>
                <c:pt idx="3452">
                  <c:v>8941.4269999999815</c:v>
                </c:pt>
                <c:pt idx="3453">
                  <c:v>8940.4519999999793</c:v>
                </c:pt>
                <c:pt idx="3454">
                  <c:v>8940.3679999999786</c:v>
                </c:pt>
                <c:pt idx="3455">
                  <c:v>8939.4359999999815</c:v>
                </c:pt>
                <c:pt idx="3456">
                  <c:v>8931.7470000000048</c:v>
                </c:pt>
                <c:pt idx="3457">
                  <c:v>8931.5390000000007</c:v>
                </c:pt>
                <c:pt idx="3458">
                  <c:v>8928.7569999999814</c:v>
                </c:pt>
                <c:pt idx="3459">
                  <c:v>8926.449999999988</c:v>
                </c:pt>
                <c:pt idx="3460">
                  <c:v>8925.5749999999862</c:v>
                </c:pt>
                <c:pt idx="3461">
                  <c:v>8922.9589999999735</c:v>
                </c:pt>
                <c:pt idx="3462">
                  <c:v>8920.0869999999813</c:v>
                </c:pt>
                <c:pt idx="3463">
                  <c:v>8916.902</c:v>
                </c:pt>
                <c:pt idx="3464">
                  <c:v>8915.0689999999813</c:v>
                </c:pt>
                <c:pt idx="3465">
                  <c:v>8914.6180000000004</c:v>
                </c:pt>
                <c:pt idx="3466">
                  <c:v>8913.98</c:v>
                </c:pt>
                <c:pt idx="3467">
                  <c:v>8912.2359999999881</c:v>
                </c:pt>
                <c:pt idx="3468">
                  <c:v>8905.3449999999884</c:v>
                </c:pt>
                <c:pt idx="3469">
                  <c:v>8898.8649999999816</c:v>
                </c:pt>
                <c:pt idx="3470">
                  <c:v>8894.5319999999883</c:v>
                </c:pt>
                <c:pt idx="3471">
                  <c:v>8893.590999999984</c:v>
                </c:pt>
                <c:pt idx="3472">
                  <c:v>8893.5519999999815</c:v>
                </c:pt>
                <c:pt idx="3473">
                  <c:v>8891.0549999999857</c:v>
                </c:pt>
                <c:pt idx="3474">
                  <c:v>8890.6080000000002</c:v>
                </c:pt>
                <c:pt idx="3475">
                  <c:v>8887.4120000000003</c:v>
                </c:pt>
                <c:pt idx="3476">
                  <c:v>8883.6079999999838</c:v>
                </c:pt>
                <c:pt idx="3477">
                  <c:v>8881.043999999989</c:v>
                </c:pt>
                <c:pt idx="3478">
                  <c:v>8878.1389999999883</c:v>
                </c:pt>
                <c:pt idx="3479">
                  <c:v>8867.9679999999789</c:v>
                </c:pt>
                <c:pt idx="3480">
                  <c:v>8865.6119999999883</c:v>
                </c:pt>
                <c:pt idx="3481">
                  <c:v>8862.4549999999836</c:v>
                </c:pt>
                <c:pt idx="3482">
                  <c:v>8849.82</c:v>
                </c:pt>
                <c:pt idx="3483">
                  <c:v>8847.9959999999792</c:v>
                </c:pt>
                <c:pt idx="3484">
                  <c:v>8847.277</c:v>
                </c:pt>
                <c:pt idx="3485">
                  <c:v>8845.3189999999813</c:v>
                </c:pt>
                <c:pt idx="3486">
                  <c:v>8842.7220000000088</c:v>
                </c:pt>
                <c:pt idx="3487">
                  <c:v>8842.4830000000002</c:v>
                </c:pt>
                <c:pt idx="3488">
                  <c:v>8836.9229999999861</c:v>
                </c:pt>
                <c:pt idx="3489">
                  <c:v>8835.4129999999859</c:v>
                </c:pt>
                <c:pt idx="3490">
                  <c:v>8834.5910000000003</c:v>
                </c:pt>
                <c:pt idx="3491">
                  <c:v>8834.4669999999787</c:v>
                </c:pt>
                <c:pt idx="3492">
                  <c:v>8828.384</c:v>
                </c:pt>
                <c:pt idx="3493">
                  <c:v>8826.9340000000029</c:v>
                </c:pt>
                <c:pt idx="3494">
                  <c:v>8826.814999999986</c:v>
                </c:pt>
                <c:pt idx="3495">
                  <c:v>8825.4449999999888</c:v>
                </c:pt>
                <c:pt idx="3496">
                  <c:v>8824.4530000000013</c:v>
                </c:pt>
                <c:pt idx="3497">
                  <c:v>8820.0990000000002</c:v>
                </c:pt>
                <c:pt idx="3498">
                  <c:v>8813.2920000000049</c:v>
                </c:pt>
                <c:pt idx="3499">
                  <c:v>8811.4889999999814</c:v>
                </c:pt>
                <c:pt idx="3500">
                  <c:v>8806.0769999999793</c:v>
                </c:pt>
                <c:pt idx="3501">
                  <c:v>8806.0169999999816</c:v>
                </c:pt>
                <c:pt idx="3502">
                  <c:v>8799.76</c:v>
                </c:pt>
                <c:pt idx="3503">
                  <c:v>8797.759</c:v>
                </c:pt>
                <c:pt idx="3504">
                  <c:v>8796.0139999999883</c:v>
                </c:pt>
                <c:pt idx="3505">
                  <c:v>8789.2370000000028</c:v>
                </c:pt>
                <c:pt idx="3506">
                  <c:v>8789.1570000000011</c:v>
                </c:pt>
                <c:pt idx="3507">
                  <c:v>8788.0429999999888</c:v>
                </c:pt>
                <c:pt idx="3508">
                  <c:v>8788.0129999999881</c:v>
                </c:pt>
                <c:pt idx="3509">
                  <c:v>8786.1400000000049</c:v>
                </c:pt>
                <c:pt idx="3510">
                  <c:v>8779.2629999999881</c:v>
                </c:pt>
                <c:pt idx="3511">
                  <c:v>8778.8729999999814</c:v>
                </c:pt>
                <c:pt idx="3512">
                  <c:v>8776.9049999999879</c:v>
                </c:pt>
                <c:pt idx="3513">
                  <c:v>8771.2900000000009</c:v>
                </c:pt>
                <c:pt idx="3514">
                  <c:v>8770.0590000000011</c:v>
                </c:pt>
                <c:pt idx="3515">
                  <c:v>8769.7819999999883</c:v>
                </c:pt>
                <c:pt idx="3516">
                  <c:v>8767.1409999999887</c:v>
                </c:pt>
                <c:pt idx="3517">
                  <c:v>8765.5559999999787</c:v>
                </c:pt>
                <c:pt idx="3518">
                  <c:v>8763.83</c:v>
                </c:pt>
                <c:pt idx="3519">
                  <c:v>8762.2829999999885</c:v>
                </c:pt>
                <c:pt idx="3520">
                  <c:v>8761.4630000000016</c:v>
                </c:pt>
                <c:pt idx="3521">
                  <c:v>8755.2460000000028</c:v>
                </c:pt>
                <c:pt idx="3522">
                  <c:v>8748.4830000000002</c:v>
                </c:pt>
                <c:pt idx="3523">
                  <c:v>8748.4350000000013</c:v>
                </c:pt>
                <c:pt idx="3524">
                  <c:v>8746.0469999999859</c:v>
                </c:pt>
                <c:pt idx="3525">
                  <c:v>8737.9920000000002</c:v>
                </c:pt>
                <c:pt idx="3526">
                  <c:v>8736.100999999986</c:v>
                </c:pt>
                <c:pt idx="3527">
                  <c:v>8735.9280000000017</c:v>
                </c:pt>
                <c:pt idx="3528">
                  <c:v>8735.9210000000003</c:v>
                </c:pt>
                <c:pt idx="3529">
                  <c:v>8733.6299999999883</c:v>
                </c:pt>
                <c:pt idx="3530">
                  <c:v>8733.0659999999734</c:v>
                </c:pt>
                <c:pt idx="3531">
                  <c:v>8730.0549999999857</c:v>
                </c:pt>
                <c:pt idx="3532">
                  <c:v>8728.1640000000007</c:v>
                </c:pt>
                <c:pt idx="3533">
                  <c:v>8726.491</c:v>
                </c:pt>
                <c:pt idx="3534">
                  <c:v>8722.1444450000163</c:v>
                </c:pt>
                <c:pt idx="3535">
                  <c:v>8718.4009999999817</c:v>
                </c:pt>
                <c:pt idx="3536">
                  <c:v>8716.5</c:v>
                </c:pt>
                <c:pt idx="3537">
                  <c:v>8713.0249999999887</c:v>
                </c:pt>
                <c:pt idx="3538">
                  <c:v>8711.4240000000009</c:v>
                </c:pt>
                <c:pt idx="3539">
                  <c:v>8708.1309999999885</c:v>
                </c:pt>
                <c:pt idx="3540">
                  <c:v>8706.996000000001</c:v>
                </c:pt>
                <c:pt idx="3541">
                  <c:v>8702.7469999999885</c:v>
                </c:pt>
                <c:pt idx="3542">
                  <c:v>8702.5419999999885</c:v>
                </c:pt>
                <c:pt idx="3543">
                  <c:v>8701.893</c:v>
                </c:pt>
                <c:pt idx="3544">
                  <c:v>8699.7720000000008</c:v>
                </c:pt>
                <c:pt idx="3545">
                  <c:v>8690.1239999999889</c:v>
                </c:pt>
                <c:pt idx="3546">
                  <c:v>8689.7289999999884</c:v>
                </c:pt>
                <c:pt idx="3547">
                  <c:v>8687.348</c:v>
                </c:pt>
                <c:pt idx="3548">
                  <c:v>8673.0470000000005</c:v>
                </c:pt>
                <c:pt idx="3549">
                  <c:v>8670.0940000000028</c:v>
                </c:pt>
                <c:pt idx="3550">
                  <c:v>8668.6049999999886</c:v>
                </c:pt>
                <c:pt idx="3551">
                  <c:v>8668.2579999999816</c:v>
                </c:pt>
                <c:pt idx="3552">
                  <c:v>8660.3659999999709</c:v>
                </c:pt>
                <c:pt idx="3553">
                  <c:v>8656.91499999999</c:v>
                </c:pt>
                <c:pt idx="3554">
                  <c:v>8656.3059999999787</c:v>
                </c:pt>
                <c:pt idx="3555">
                  <c:v>8655.7969999999859</c:v>
                </c:pt>
                <c:pt idx="3556">
                  <c:v>8650.8969999999808</c:v>
                </c:pt>
                <c:pt idx="3557">
                  <c:v>8650.3579999999765</c:v>
                </c:pt>
                <c:pt idx="3558">
                  <c:v>8647.6370000000006</c:v>
                </c:pt>
                <c:pt idx="3559">
                  <c:v>8639.2689999999839</c:v>
                </c:pt>
                <c:pt idx="3560">
                  <c:v>8638.8499999999858</c:v>
                </c:pt>
                <c:pt idx="3561">
                  <c:v>8635.7440000000115</c:v>
                </c:pt>
                <c:pt idx="3562">
                  <c:v>8635.1290000000026</c:v>
                </c:pt>
                <c:pt idx="3563">
                  <c:v>8633.1769999999815</c:v>
                </c:pt>
                <c:pt idx="3564">
                  <c:v>8627.2289999999884</c:v>
                </c:pt>
                <c:pt idx="3565">
                  <c:v>8621.2810000000009</c:v>
                </c:pt>
                <c:pt idx="3566">
                  <c:v>8619.6360000000004</c:v>
                </c:pt>
                <c:pt idx="3567">
                  <c:v>8616.5399999999881</c:v>
                </c:pt>
                <c:pt idx="3568">
                  <c:v>8616.2060000000001</c:v>
                </c:pt>
                <c:pt idx="3569">
                  <c:v>8615.2610000000004</c:v>
                </c:pt>
                <c:pt idx="3570">
                  <c:v>8612.2749999999887</c:v>
                </c:pt>
                <c:pt idx="3571">
                  <c:v>8609.544999999991</c:v>
                </c:pt>
                <c:pt idx="3572">
                  <c:v>8607.2330000000111</c:v>
                </c:pt>
                <c:pt idx="3573">
                  <c:v>8606.7540000000008</c:v>
                </c:pt>
                <c:pt idx="3574">
                  <c:v>8605.8699999999772</c:v>
                </c:pt>
                <c:pt idx="3575">
                  <c:v>8600.0879999999815</c:v>
                </c:pt>
                <c:pt idx="3576">
                  <c:v>8599.1979999999839</c:v>
                </c:pt>
                <c:pt idx="3577">
                  <c:v>8599.064999999986</c:v>
                </c:pt>
                <c:pt idx="3578">
                  <c:v>8595.8749999999836</c:v>
                </c:pt>
                <c:pt idx="3579">
                  <c:v>8594.6679999999815</c:v>
                </c:pt>
                <c:pt idx="3580">
                  <c:v>8591.8410000000003</c:v>
                </c:pt>
                <c:pt idx="3581">
                  <c:v>8589.4079999999794</c:v>
                </c:pt>
                <c:pt idx="3582">
                  <c:v>8587.6690000000017</c:v>
                </c:pt>
                <c:pt idx="3583">
                  <c:v>8585.6859999999815</c:v>
                </c:pt>
                <c:pt idx="3584">
                  <c:v>8584.3959999999788</c:v>
                </c:pt>
                <c:pt idx="3585">
                  <c:v>8584.2400000000089</c:v>
                </c:pt>
                <c:pt idx="3586">
                  <c:v>8582.6829999999882</c:v>
                </c:pt>
                <c:pt idx="3587">
                  <c:v>8580.6539999999859</c:v>
                </c:pt>
                <c:pt idx="3588">
                  <c:v>8576.8849999999857</c:v>
                </c:pt>
                <c:pt idx="3589">
                  <c:v>8569.99</c:v>
                </c:pt>
                <c:pt idx="3590">
                  <c:v>8566.6409999999887</c:v>
                </c:pt>
                <c:pt idx="3591">
                  <c:v>8565.3569999999763</c:v>
                </c:pt>
                <c:pt idx="3592">
                  <c:v>8564.2639999999883</c:v>
                </c:pt>
                <c:pt idx="3593">
                  <c:v>8564.0049999999883</c:v>
                </c:pt>
                <c:pt idx="3594">
                  <c:v>8561.8569999999763</c:v>
                </c:pt>
                <c:pt idx="3595">
                  <c:v>8561.5429999999888</c:v>
                </c:pt>
                <c:pt idx="3596">
                  <c:v>8561.5390000000007</c:v>
                </c:pt>
                <c:pt idx="3597">
                  <c:v>8559.1350000000002</c:v>
                </c:pt>
                <c:pt idx="3598">
                  <c:v>8558.4179999999815</c:v>
                </c:pt>
                <c:pt idx="3599">
                  <c:v>8557.5489999999882</c:v>
                </c:pt>
                <c:pt idx="3600">
                  <c:v>8556.7120000000068</c:v>
                </c:pt>
                <c:pt idx="3601">
                  <c:v>8555.5769999999793</c:v>
                </c:pt>
                <c:pt idx="3602">
                  <c:v>8550.402</c:v>
                </c:pt>
                <c:pt idx="3603">
                  <c:v>8549.0420000000049</c:v>
                </c:pt>
                <c:pt idx="3604">
                  <c:v>8548.07</c:v>
                </c:pt>
                <c:pt idx="3605">
                  <c:v>8547.3669999999765</c:v>
                </c:pt>
                <c:pt idx="3606">
                  <c:v>8546.4089999999815</c:v>
                </c:pt>
                <c:pt idx="3607">
                  <c:v>8544.9519999999793</c:v>
                </c:pt>
                <c:pt idx="3608">
                  <c:v>8542.9059999999772</c:v>
                </c:pt>
                <c:pt idx="3609">
                  <c:v>8537.5199999999859</c:v>
                </c:pt>
                <c:pt idx="3610">
                  <c:v>8534.7470000000048</c:v>
                </c:pt>
                <c:pt idx="3611">
                  <c:v>8529.0119999999861</c:v>
                </c:pt>
                <c:pt idx="3612">
                  <c:v>8528.743999999997</c:v>
                </c:pt>
                <c:pt idx="3613">
                  <c:v>8525.4989999999816</c:v>
                </c:pt>
                <c:pt idx="3614">
                  <c:v>8513.4089999999815</c:v>
                </c:pt>
                <c:pt idx="3615">
                  <c:v>8512.5020000000004</c:v>
                </c:pt>
                <c:pt idx="3616">
                  <c:v>8506.89</c:v>
                </c:pt>
                <c:pt idx="3617">
                  <c:v>8492.8440000000028</c:v>
                </c:pt>
                <c:pt idx="3618">
                  <c:v>8490.5940000000028</c:v>
                </c:pt>
                <c:pt idx="3619">
                  <c:v>8489.8429999999862</c:v>
                </c:pt>
                <c:pt idx="3620">
                  <c:v>8486.9210000000003</c:v>
                </c:pt>
                <c:pt idx="3621">
                  <c:v>8486.0930000000008</c:v>
                </c:pt>
                <c:pt idx="3622">
                  <c:v>8485.7480000000069</c:v>
                </c:pt>
                <c:pt idx="3623">
                  <c:v>8483.4220000000005</c:v>
                </c:pt>
                <c:pt idx="3624">
                  <c:v>8476.5250000000015</c:v>
                </c:pt>
                <c:pt idx="3625">
                  <c:v>8476.0480000000007</c:v>
                </c:pt>
                <c:pt idx="3626">
                  <c:v>8476.0380000000005</c:v>
                </c:pt>
                <c:pt idx="3627">
                  <c:v>8465.0069999999814</c:v>
                </c:pt>
                <c:pt idx="3628">
                  <c:v>8464.5569999999789</c:v>
                </c:pt>
                <c:pt idx="3629">
                  <c:v>8461.31</c:v>
                </c:pt>
                <c:pt idx="3630">
                  <c:v>8461.1120000000028</c:v>
                </c:pt>
                <c:pt idx="3631">
                  <c:v>8455.8859999999786</c:v>
                </c:pt>
                <c:pt idx="3632">
                  <c:v>8453.5569999999734</c:v>
                </c:pt>
                <c:pt idx="3633">
                  <c:v>8452.07</c:v>
                </c:pt>
                <c:pt idx="3634">
                  <c:v>8451.4000000000015</c:v>
                </c:pt>
                <c:pt idx="3635">
                  <c:v>8449.8079999999809</c:v>
                </c:pt>
                <c:pt idx="3636">
                  <c:v>8446.3909999999814</c:v>
                </c:pt>
                <c:pt idx="3637">
                  <c:v>8445.5609999999815</c:v>
                </c:pt>
                <c:pt idx="3638">
                  <c:v>8444.2520000000004</c:v>
                </c:pt>
                <c:pt idx="3639">
                  <c:v>8443.893</c:v>
                </c:pt>
                <c:pt idx="3640">
                  <c:v>8441.42</c:v>
                </c:pt>
                <c:pt idx="3641">
                  <c:v>8438.8040000000001</c:v>
                </c:pt>
                <c:pt idx="3642">
                  <c:v>8438.6939999999886</c:v>
                </c:pt>
                <c:pt idx="3643">
                  <c:v>8438.2309999999889</c:v>
                </c:pt>
                <c:pt idx="3644">
                  <c:v>8438.0059999999794</c:v>
                </c:pt>
                <c:pt idx="3645">
                  <c:v>8435.5590000000011</c:v>
                </c:pt>
                <c:pt idx="3646">
                  <c:v>8432.2720000000008</c:v>
                </c:pt>
                <c:pt idx="3647">
                  <c:v>8430.509</c:v>
                </c:pt>
                <c:pt idx="3648">
                  <c:v>8429.1740000000009</c:v>
                </c:pt>
                <c:pt idx="3649">
                  <c:v>8422.9959999999792</c:v>
                </c:pt>
                <c:pt idx="3650">
                  <c:v>8422.9859999999771</c:v>
                </c:pt>
                <c:pt idx="3651">
                  <c:v>8422.8979999999792</c:v>
                </c:pt>
                <c:pt idx="3652">
                  <c:v>8422.3280000000013</c:v>
                </c:pt>
                <c:pt idx="3653">
                  <c:v>8421.52</c:v>
                </c:pt>
                <c:pt idx="3654">
                  <c:v>8421.2950000000001</c:v>
                </c:pt>
                <c:pt idx="3655">
                  <c:v>8421.2289999999884</c:v>
                </c:pt>
                <c:pt idx="3656">
                  <c:v>8418.9599999999773</c:v>
                </c:pt>
                <c:pt idx="3657">
                  <c:v>8418.2690000000002</c:v>
                </c:pt>
                <c:pt idx="3658">
                  <c:v>8417.1659999999792</c:v>
                </c:pt>
                <c:pt idx="3659">
                  <c:v>8415.7379999999885</c:v>
                </c:pt>
                <c:pt idx="3660">
                  <c:v>8413.2209999999886</c:v>
                </c:pt>
                <c:pt idx="3661">
                  <c:v>8411.98</c:v>
                </c:pt>
                <c:pt idx="3662">
                  <c:v>8409.5159999999814</c:v>
                </c:pt>
                <c:pt idx="3663">
                  <c:v>8405.6350000000002</c:v>
                </c:pt>
                <c:pt idx="3664">
                  <c:v>8401.3499999999858</c:v>
                </c:pt>
                <c:pt idx="3665">
                  <c:v>8395.5540000000001</c:v>
                </c:pt>
                <c:pt idx="3666">
                  <c:v>8393.1549999999879</c:v>
                </c:pt>
                <c:pt idx="3667">
                  <c:v>8390.8249999999862</c:v>
                </c:pt>
                <c:pt idx="3668">
                  <c:v>8390.4809999999816</c:v>
                </c:pt>
                <c:pt idx="3669">
                  <c:v>8387.7980000000007</c:v>
                </c:pt>
                <c:pt idx="3670">
                  <c:v>8384.3979999999792</c:v>
                </c:pt>
                <c:pt idx="3671">
                  <c:v>8383.5209999999861</c:v>
                </c:pt>
                <c:pt idx="3672">
                  <c:v>8382.9009999999817</c:v>
                </c:pt>
                <c:pt idx="3673">
                  <c:v>8381.9919999999838</c:v>
                </c:pt>
                <c:pt idx="3674">
                  <c:v>8377.6119999999883</c:v>
                </c:pt>
                <c:pt idx="3675">
                  <c:v>8377.4110000000001</c:v>
                </c:pt>
                <c:pt idx="3676">
                  <c:v>8372.8130000000001</c:v>
                </c:pt>
                <c:pt idx="3677">
                  <c:v>8369.482</c:v>
                </c:pt>
                <c:pt idx="3678">
                  <c:v>8364.0549999999857</c:v>
                </c:pt>
                <c:pt idx="3679">
                  <c:v>8359.2459999999883</c:v>
                </c:pt>
                <c:pt idx="3680">
                  <c:v>8355.543999999989</c:v>
                </c:pt>
                <c:pt idx="3681">
                  <c:v>8354.2010000000009</c:v>
                </c:pt>
                <c:pt idx="3682">
                  <c:v>8352.6329999999889</c:v>
                </c:pt>
                <c:pt idx="3683">
                  <c:v>8352.3069999999789</c:v>
                </c:pt>
                <c:pt idx="3684">
                  <c:v>8349.2489999999889</c:v>
                </c:pt>
                <c:pt idx="3685">
                  <c:v>8348.2029999999886</c:v>
                </c:pt>
                <c:pt idx="3686">
                  <c:v>8347.8259999999809</c:v>
                </c:pt>
                <c:pt idx="3687">
                  <c:v>8340.7849999999889</c:v>
                </c:pt>
                <c:pt idx="3688">
                  <c:v>8340.2300000000068</c:v>
                </c:pt>
                <c:pt idx="3689">
                  <c:v>8339.4000000000015</c:v>
                </c:pt>
                <c:pt idx="3690">
                  <c:v>8338.1389999999883</c:v>
                </c:pt>
                <c:pt idx="3691">
                  <c:v>8336.89</c:v>
                </c:pt>
                <c:pt idx="3692">
                  <c:v>8333.7160000000003</c:v>
                </c:pt>
                <c:pt idx="3693">
                  <c:v>8330.509</c:v>
                </c:pt>
                <c:pt idx="3694">
                  <c:v>8327.9509999999773</c:v>
                </c:pt>
                <c:pt idx="3695">
                  <c:v>8327.4859999999808</c:v>
                </c:pt>
                <c:pt idx="3696">
                  <c:v>8325.1030000000028</c:v>
                </c:pt>
                <c:pt idx="3697">
                  <c:v>8324.3490000000002</c:v>
                </c:pt>
                <c:pt idx="3698">
                  <c:v>8320.616</c:v>
                </c:pt>
                <c:pt idx="3699">
                  <c:v>8317.25</c:v>
                </c:pt>
                <c:pt idx="3700">
                  <c:v>8316.5579999999773</c:v>
                </c:pt>
                <c:pt idx="3701">
                  <c:v>8314.8029999999835</c:v>
                </c:pt>
                <c:pt idx="3702">
                  <c:v>8311.8019999999815</c:v>
                </c:pt>
                <c:pt idx="3703">
                  <c:v>8307.9249999999884</c:v>
                </c:pt>
                <c:pt idx="3704">
                  <c:v>8307.618999999986</c:v>
                </c:pt>
                <c:pt idx="3705">
                  <c:v>8306.4130000000005</c:v>
                </c:pt>
                <c:pt idx="3706">
                  <c:v>8306.0329999999885</c:v>
                </c:pt>
                <c:pt idx="3707">
                  <c:v>8305.1400000000049</c:v>
                </c:pt>
                <c:pt idx="3708">
                  <c:v>8303.4429999999884</c:v>
                </c:pt>
                <c:pt idx="3709">
                  <c:v>8302.9470000000001</c:v>
                </c:pt>
                <c:pt idx="3710">
                  <c:v>8298.16</c:v>
                </c:pt>
                <c:pt idx="3711">
                  <c:v>8296.4120000000003</c:v>
                </c:pt>
                <c:pt idx="3712">
                  <c:v>8291.0830000000005</c:v>
                </c:pt>
                <c:pt idx="3713">
                  <c:v>8289.5309999999881</c:v>
                </c:pt>
                <c:pt idx="3714">
                  <c:v>8289.5239999999885</c:v>
                </c:pt>
                <c:pt idx="3715">
                  <c:v>8289.0340000000069</c:v>
                </c:pt>
                <c:pt idx="3716">
                  <c:v>8288.2240000000111</c:v>
                </c:pt>
                <c:pt idx="3717">
                  <c:v>8281.4040000000005</c:v>
                </c:pt>
                <c:pt idx="3718">
                  <c:v>8279.44</c:v>
                </c:pt>
                <c:pt idx="3719">
                  <c:v>8276.7989999999882</c:v>
                </c:pt>
                <c:pt idx="3720">
                  <c:v>8276.0579999999809</c:v>
                </c:pt>
                <c:pt idx="3721">
                  <c:v>8274.4480000000003</c:v>
                </c:pt>
                <c:pt idx="3722">
                  <c:v>8270.8809999999794</c:v>
                </c:pt>
                <c:pt idx="3723">
                  <c:v>8265.6749999999884</c:v>
                </c:pt>
                <c:pt idx="3724">
                  <c:v>8265.2180000000008</c:v>
                </c:pt>
                <c:pt idx="3725">
                  <c:v>8264.1489999999885</c:v>
                </c:pt>
                <c:pt idx="3726">
                  <c:v>8261.1970000000001</c:v>
                </c:pt>
                <c:pt idx="3727">
                  <c:v>8260.5889999999836</c:v>
                </c:pt>
                <c:pt idx="3728">
                  <c:v>8259.9869999999792</c:v>
                </c:pt>
                <c:pt idx="3729">
                  <c:v>8258.755000000001</c:v>
                </c:pt>
                <c:pt idx="3730">
                  <c:v>8257.1470000000008</c:v>
                </c:pt>
                <c:pt idx="3731">
                  <c:v>8253.9879999999794</c:v>
                </c:pt>
                <c:pt idx="3732">
                  <c:v>8251.33</c:v>
                </c:pt>
                <c:pt idx="3733">
                  <c:v>8249.9049999999861</c:v>
                </c:pt>
                <c:pt idx="3734">
                  <c:v>8249.3289999999815</c:v>
                </c:pt>
                <c:pt idx="3735">
                  <c:v>8248.973</c:v>
                </c:pt>
                <c:pt idx="3736">
                  <c:v>8242.3579999999765</c:v>
                </c:pt>
                <c:pt idx="3737">
                  <c:v>8241.9589999999789</c:v>
                </c:pt>
                <c:pt idx="3738">
                  <c:v>8231.9830000000002</c:v>
                </c:pt>
                <c:pt idx="3739">
                  <c:v>8230.8599999999733</c:v>
                </c:pt>
                <c:pt idx="3740">
                  <c:v>8229.9189999999835</c:v>
                </c:pt>
                <c:pt idx="3741">
                  <c:v>8229.898000000001</c:v>
                </c:pt>
                <c:pt idx="3742">
                  <c:v>8228.5639999999839</c:v>
                </c:pt>
                <c:pt idx="3743">
                  <c:v>8227.9079999999794</c:v>
                </c:pt>
                <c:pt idx="3744">
                  <c:v>8225.8226670000004</c:v>
                </c:pt>
                <c:pt idx="3745">
                  <c:v>8221.4140000000007</c:v>
                </c:pt>
                <c:pt idx="3746">
                  <c:v>8219.6340000000109</c:v>
                </c:pt>
                <c:pt idx="3747">
                  <c:v>8217.7919999999885</c:v>
                </c:pt>
                <c:pt idx="3748">
                  <c:v>8217.6539999999859</c:v>
                </c:pt>
                <c:pt idx="3749">
                  <c:v>8214.9609999999793</c:v>
                </c:pt>
                <c:pt idx="3750">
                  <c:v>8210.2990000000009</c:v>
                </c:pt>
                <c:pt idx="3751">
                  <c:v>8207.9639999999836</c:v>
                </c:pt>
                <c:pt idx="3752">
                  <c:v>8204.027</c:v>
                </c:pt>
                <c:pt idx="3753">
                  <c:v>8202.9219999999859</c:v>
                </c:pt>
                <c:pt idx="3754">
                  <c:v>8202.3949999999877</c:v>
                </c:pt>
                <c:pt idx="3755">
                  <c:v>8201.7849999999889</c:v>
                </c:pt>
                <c:pt idx="3756">
                  <c:v>8201.7580000000016</c:v>
                </c:pt>
                <c:pt idx="3757">
                  <c:v>8198.4609999999793</c:v>
                </c:pt>
                <c:pt idx="3758">
                  <c:v>8198.2559999999794</c:v>
                </c:pt>
                <c:pt idx="3759">
                  <c:v>8197.2669999999816</c:v>
                </c:pt>
                <c:pt idx="3760">
                  <c:v>8193.94</c:v>
                </c:pt>
                <c:pt idx="3761">
                  <c:v>8193.8699999999772</c:v>
                </c:pt>
                <c:pt idx="3762">
                  <c:v>8193.7480000000069</c:v>
                </c:pt>
                <c:pt idx="3763">
                  <c:v>8191.7280000000001</c:v>
                </c:pt>
                <c:pt idx="3764">
                  <c:v>8188.2979999999998</c:v>
                </c:pt>
                <c:pt idx="3765">
                  <c:v>8187.2630000000008</c:v>
                </c:pt>
                <c:pt idx="3766">
                  <c:v>8186.7820000000002</c:v>
                </c:pt>
                <c:pt idx="3767">
                  <c:v>8184.5869999999995</c:v>
                </c:pt>
                <c:pt idx="3768">
                  <c:v>8184.4829999999993</c:v>
                </c:pt>
                <c:pt idx="3769">
                  <c:v>8184.1170000000002</c:v>
                </c:pt>
                <c:pt idx="3770">
                  <c:v>8182.91</c:v>
                </c:pt>
                <c:pt idx="3771">
                  <c:v>8177.6570000000002</c:v>
                </c:pt>
                <c:pt idx="3772">
                  <c:v>8177.6020000000044</c:v>
                </c:pt>
                <c:pt idx="3773">
                  <c:v>8177.0570000000016</c:v>
                </c:pt>
                <c:pt idx="3774">
                  <c:v>8176.2060000000001</c:v>
                </c:pt>
                <c:pt idx="3775">
                  <c:v>8175.8470000000007</c:v>
                </c:pt>
                <c:pt idx="3776">
                  <c:v>8175.0580000000009</c:v>
                </c:pt>
                <c:pt idx="3777">
                  <c:v>8174.6650000000054</c:v>
                </c:pt>
                <c:pt idx="3778">
                  <c:v>8173.6460000000034</c:v>
                </c:pt>
                <c:pt idx="3779">
                  <c:v>8168.9150000000009</c:v>
                </c:pt>
                <c:pt idx="3780">
                  <c:v>8168.5910000000003</c:v>
                </c:pt>
                <c:pt idx="3781">
                  <c:v>8168.3160000000034</c:v>
                </c:pt>
                <c:pt idx="3782">
                  <c:v>8166.4980000000005</c:v>
                </c:pt>
                <c:pt idx="3783">
                  <c:v>8165.5000000000009</c:v>
                </c:pt>
                <c:pt idx="3784">
                  <c:v>8165.3810000000003</c:v>
                </c:pt>
                <c:pt idx="3785">
                  <c:v>8164.5490000000009</c:v>
                </c:pt>
                <c:pt idx="3786">
                  <c:v>8154.8730000000005</c:v>
                </c:pt>
                <c:pt idx="3787">
                  <c:v>8151.4779999999992</c:v>
                </c:pt>
                <c:pt idx="3788">
                  <c:v>8150.8440000000001</c:v>
                </c:pt>
                <c:pt idx="3789">
                  <c:v>8150.759</c:v>
                </c:pt>
                <c:pt idx="3790">
                  <c:v>8143.0420000000004</c:v>
                </c:pt>
                <c:pt idx="3791">
                  <c:v>8142.8870000000006</c:v>
                </c:pt>
                <c:pt idx="3792">
                  <c:v>8138.5810000000001</c:v>
                </c:pt>
                <c:pt idx="3793">
                  <c:v>8136.2140000000009</c:v>
                </c:pt>
                <c:pt idx="3794">
                  <c:v>8134.4069999999992</c:v>
                </c:pt>
                <c:pt idx="3795">
                  <c:v>8124.9389999999985</c:v>
                </c:pt>
                <c:pt idx="3796">
                  <c:v>8121.2190000000001</c:v>
                </c:pt>
                <c:pt idx="3797">
                  <c:v>8120.72</c:v>
                </c:pt>
                <c:pt idx="3798">
                  <c:v>8119.3940000000002</c:v>
                </c:pt>
                <c:pt idx="3799">
                  <c:v>8118.0460000000003</c:v>
                </c:pt>
                <c:pt idx="3800">
                  <c:v>8115.7476110000007</c:v>
                </c:pt>
                <c:pt idx="3801">
                  <c:v>8115.643</c:v>
                </c:pt>
                <c:pt idx="3802">
                  <c:v>8112.3670000000002</c:v>
                </c:pt>
                <c:pt idx="3803">
                  <c:v>8098.6220000000058</c:v>
                </c:pt>
                <c:pt idx="3804">
                  <c:v>8098.3690000000024</c:v>
                </c:pt>
                <c:pt idx="3805">
                  <c:v>8097.3810000000012</c:v>
                </c:pt>
                <c:pt idx="3806">
                  <c:v>8096.7819999999992</c:v>
                </c:pt>
                <c:pt idx="3807">
                  <c:v>8095.5300000000007</c:v>
                </c:pt>
                <c:pt idx="3808">
                  <c:v>8095.1410000000014</c:v>
                </c:pt>
                <c:pt idx="3809">
                  <c:v>8089.64</c:v>
                </c:pt>
                <c:pt idx="3810">
                  <c:v>8081.2270000000008</c:v>
                </c:pt>
                <c:pt idx="3811">
                  <c:v>8079.9140000000007</c:v>
                </c:pt>
                <c:pt idx="3812">
                  <c:v>8077.9470000000001</c:v>
                </c:pt>
                <c:pt idx="3813">
                  <c:v>8075.8330000000005</c:v>
                </c:pt>
                <c:pt idx="3814">
                  <c:v>8075.5080000000007</c:v>
                </c:pt>
                <c:pt idx="3815">
                  <c:v>8064.0860000000002</c:v>
                </c:pt>
                <c:pt idx="3816">
                  <c:v>8060.2920000000004</c:v>
                </c:pt>
                <c:pt idx="3817">
                  <c:v>8059.0020000000004</c:v>
                </c:pt>
                <c:pt idx="3818">
                  <c:v>8058.5000000000009</c:v>
                </c:pt>
                <c:pt idx="3819">
                  <c:v>8058.3070000000007</c:v>
                </c:pt>
                <c:pt idx="3820">
                  <c:v>8053.4160000000002</c:v>
                </c:pt>
                <c:pt idx="3821">
                  <c:v>8050.1470000000018</c:v>
                </c:pt>
                <c:pt idx="3822">
                  <c:v>8044.8979999999992</c:v>
                </c:pt>
                <c:pt idx="3823">
                  <c:v>8043.6920000000055</c:v>
                </c:pt>
                <c:pt idx="3824">
                  <c:v>8043.3769999999995</c:v>
                </c:pt>
                <c:pt idx="3825">
                  <c:v>8042.5980000000009</c:v>
                </c:pt>
                <c:pt idx="3826">
                  <c:v>8038.9739999999965</c:v>
                </c:pt>
                <c:pt idx="3827">
                  <c:v>8038.0170000000007</c:v>
                </c:pt>
                <c:pt idx="3828">
                  <c:v>8037.9360000000006</c:v>
                </c:pt>
                <c:pt idx="3829">
                  <c:v>8037.0460000000003</c:v>
                </c:pt>
                <c:pt idx="3830">
                  <c:v>8036.4169999999995</c:v>
                </c:pt>
                <c:pt idx="3831">
                  <c:v>8032.9589999999989</c:v>
                </c:pt>
                <c:pt idx="3832">
                  <c:v>8030.8809999999994</c:v>
                </c:pt>
                <c:pt idx="3833">
                  <c:v>8029.01</c:v>
                </c:pt>
                <c:pt idx="3834">
                  <c:v>8028.4540000000006</c:v>
                </c:pt>
                <c:pt idx="3835">
                  <c:v>8028.0830000000005</c:v>
                </c:pt>
                <c:pt idx="3836">
                  <c:v>8027.8420000000024</c:v>
                </c:pt>
                <c:pt idx="3837">
                  <c:v>8025.5880000000016</c:v>
                </c:pt>
                <c:pt idx="3838">
                  <c:v>8023.6450000000013</c:v>
                </c:pt>
                <c:pt idx="3839">
                  <c:v>8023.5260000000044</c:v>
                </c:pt>
                <c:pt idx="3840">
                  <c:v>8021.8310000000001</c:v>
                </c:pt>
                <c:pt idx="3841">
                  <c:v>8014.1040000000003</c:v>
                </c:pt>
                <c:pt idx="3842">
                  <c:v>8013.0710000000008</c:v>
                </c:pt>
                <c:pt idx="3843">
                  <c:v>8012.6190000000024</c:v>
                </c:pt>
                <c:pt idx="3844">
                  <c:v>8011.6320000000014</c:v>
                </c:pt>
                <c:pt idx="3845">
                  <c:v>8010.5759999999991</c:v>
                </c:pt>
                <c:pt idx="3846">
                  <c:v>8007.1557220000013</c:v>
                </c:pt>
                <c:pt idx="3847">
                  <c:v>8006.6320000000014</c:v>
                </c:pt>
                <c:pt idx="3848">
                  <c:v>8004.7240000000011</c:v>
                </c:pt>
                <c:pt idx="3849">
                  <c:v>8004.4079999999994</c:v>
                </c:pt>
                <c:pt idx="3850">
                  <c:v>8003.857</c:v>
                </c:pt>
                <c:pt idx="3851">
                  <c:v>8001.8600000000024</c:v>
                </c:pt>
                <c:pt idx="3852">
                  <c:v>8001.74</c:v>
                </c:pt>
                <c:pt idx="3853">
                  <c:v>7999.6930000000002</c:v>
                </c:pt>
                <c:pt idx="3854">
                  <c:v>7997.2840000000006</c:v>
                </c:pt>
                <c:pt idx="3855">
                  <c:v>7996.5950000000003</c:v>
                </c:pt>
                <c:pt idx="3856">
                  <c:v>7994.6330000000007</c:v>
                </c:pt>
                <c:pt idx="3857">
                  <c:v>7993.02</c:v>
                </c:pt>
                <c:pt idx="3858">
                  <c:v>7991.8740000000007</c:v>
                </c:pt>
                <c:pt idx="3859">
                  <c:v>7989.7020000000002</c:v>
                </c:pt>
                <c:pt idx="3860">
                  <c:v>7989.2850000000008</c:v>
                </c:pt>
                <c:pt idx="3861">
                  <c:v>7987.0050000000001</c:v>
                </c:pt>
                <c:pt idx="3862">
                  <c:v>7986.1810000000014</c:v>
                </c:pt>
                <c:pt idx="3863">
                  <c:v>7983.3250000000044</c:v>
                </c:pt>
                <c:pt idx="3864">
                  <c:v>7982.3779999999997</c:v>
                </c:pt>
                <c:pt idx="3865">
                  <c:v>7980.1710000000003</c:v>
                </c:pt>
                <c:pt idx="3866">
                  <c:v>7977.0410000000002</c:v>
                </c:pt>
                <c:pt idx="3867">
                  <c:v>7973.7790000000005</c:v>
                </c:pt>
                <c:pt idx="3868">
                  <c:v>7970.232</c:v>
                </c:pt>
                <c:pt idx="3869">
                  <c:v>7970.1330000000007</c:v>
                </c:pt>
                <c:pt idx="3870">
                  <c:v>7968.1820000000034</c:v>
                </c:pt>
                <c:pt idx="3871">
                  <c:v>7966.1210000000056</c:v>
                </c:pt>
                <c:pt idx="3872">
                  <c:v>7964.8760000000002</c:v>
                </c:pt>
                <c:pt idx="3873">
                  <c:v>7964.8090000000011</c:v>
                </c:pt>
                <c:pt idx="3874">
                  <c:v>7964.3240000000014</c:v>
                </c:pt>
                <c:pt idx="3875">
                  <c:v>7963.9969999999994</c:v>
                </c:pt>
                <c:pt idx="3876">
                  <c:v>7962.84</c:v>
                </c:pt>
                <c:pt idx="3877">
                  <c:v>7962.0880000000006</c:v>
                </c:pt>
                <c:pt idx="3878">
                  <c:v>7961.0340000000006</c:v>
                </c:pt>
                <c:pt idx="3879">
                  <c:v>7957.5910000000003</c:v>
                </c:pt>
                <c:pt idx="3880">
                  <c:v>7956.33</c:v>
                </c:pt>
                <c:pt idx="3881">
                  <c:v>7954.8709999999992</c:v>
                </c:pt>
                <c:pt idx="3882">
                  <c:v>7946.0730000000003</c:v>
                </c:pt>
                <c:pt idx="3883">
                  <c:v>7942.9630000000006</c:v>
                </c:pt>
                <c:pt idx="3884">
                  <c:v>7937.94</c:v>
                </c:pt>
                <c:pt idx="3885">
                  <c:v>7934.9739999999965</c:v>
                </c:pt>
                <c:pt idx="3886">
                  <c:v>7932.3050000000003</c:v>
                </c:pt>
                <c:pt idx="3887">
                  <c:v>7928.1900000000014</c:v>
                </c:pt>
                <c:pt idx="3888">
                  <c:v>7927.1990000000014</c:v>
                </c:pt>
                <c:pt idx="3889">
                  <c:v>7926.9560000000001</c:v>
                </c:pt>
                <c:pt idx="3890">
                  <c:v>7917.3860000000013</c:v>
                </c:pt>
                <c:pt idx="3891">
                  <c:v>7916.3010000000004</c:v>
                </c:pt>
                <c:pt idx="3892">
                  <c:v>7910.7850000000008</c:v>
                </c:pt>
                <c:pt idx="3893">
                  <c:v>7909.7189999999991</c:v>
                </c:pt>
                <c:pt idx="3894">
                  <c:v>7906.33</c:v>
                </c:pt>
                <c:pt idx="3895">
                  <c:v>7906.2670000000007</c:v>
                </c:pt>
                <c:pt idx="3896">
                  <c:v>7905.4</c:v>
                </c:pt>
                <c:pt idx="3897">
                  <c:v>7904.6970000000001</c:v>
                </c:pt>
                <c:pt idx="3898">
                  <c:v>7903.018</c:v>
                </c:pt>
                <c:pt idx="3899">
                  <c:v>7902.6350000000002</c:v>
                </c:pt>
                <c:pt idx="3900">
                  <c:v>7898.2760000000007</c:v>
                </c:pt>
                <c:pt idx="3901">
                  <c:v>7896.7760000000007</c:v>
                </c:pt>
                <c:pt idx="3902">
                  <c:v>7896.259</c:v>
                </c:pt>
                <c:pt idx="3903">
                  <c:v>7893.7050000000008</c:v>
                </c:pt>
                <c:pt idx="3904">
                  <c:v>7891.741</c:v>
                </c:pt>
                <c:pt idx="3905">
                  <c:v>7891.5500000000011</c:v>
                </c:pt>
                <c:pt idx="3906">
                  <c:v>7891.4210000000003</c:v>
                </c:pt>
                <c:pt idx="3907">
                  <c:v>7886.3150000000014</c:v>
                </c:pt>
                <c:pt idx="3908">
                  <c:v>7885.6190000000024</c:v>
                </c:pt>
                <c:pt idx="3909">
                  <c:v>7885.1720000000014</c:v>
                </c:pt>
                <c:pt idx="3910">
                  <c:v>7883.1790000000001</c:v>
                </c:pt>
                <c:pt idx="3911">
                  <c:v>7881.2140000000009</c:v>
                </c:pt>
                <c:pt idx="3912">
                  <c:v>7879.7809999999999</c:v>
                </c:pt>
                <c:pt idx="3913">
                  <c:v>7877.9360000000006</c:v>
                </c:pt>
                <c:pt idx="3914">
                  <c:v>7876.84</c:v>
                </c:pt>
                <c:pt idx="3915">
                  <c:v>7873.5390000000016</c:v>
                </c:pt>
                <c:pt idx="3916">
                  <c:v>7873.33</c:v>
                </c:pt>
                <c:pt idx="3917">
                  <c:v>7873.1520000000055</c:v>
                </c:pt>
                <c:pt idx="3918">
                  <c:v>7870.3650000000034</c:v>
                </c:pt>
                <c:pt idx="3919">
                  <c:v>7863.4829999999993</c:v>
                </c:pt>
                <c:pt idx="3920">
                  <c:v>7863.3540000000003</c:v>
                </c:pt>
                <c:pt idx="3921">
                  <c:v>7862.429000000001</c:v>
                </c:pt>
                <c:pt idx="3922">
                  <c:v>7860.5139999999992</c:v>
                </c:pt>
                <c:pt idx="3923">
                  <c:v>7857.6590000000024</c:v>
                </c:pt>
                <c:pt idx="3924">
                  <c:v>7857.1690000000044</c:v>
                </c:pt>
                <c:pt idx="3925">
                  <c:v>7856.9029999999993</c:v>
                </c:pt>
                <c:pt idx="3926">
                  <c:v>7854.3420000000024</c:v>
                </c:pt>
                <c:pt idx="3927">
                  <c:v>7854.0820000000003</c:v>
                </c:pt>
                <c:pt idx="3928">
                  <c:v>7853.9280000000008</c:v>
                </c:pt>
                <c:pt idx="3929">
                  <c:v>7853.3600000000024</c:v>
                </c:pt>
                <c:pt idx="3930">
                  <c:v>7852.2910000000002</c:v>
                </c:pt>
                <c:pt idx="3931">
                  <c:v>7848.8470000000007</c:v>
                </c:pt>
                <c:pt idx="3932">
                  <c:v>7848.5730000000003</c:v>
                </c:pt>
                <c:pt idx="3933">
                  <c:v>7845.9059999999999</c:v>
                </c:pt>
                <c:pt idx="3934">
                  <c:v>7837.6250000000045</c:v>
                </c:pt>
                <c:pt idx="3935">
                  <c:v>7831.6270000000013</c:v>
                </c:pt>
                <c:pt idx="3936">
                  <c:v>7825.5060000000003</c:v>
                </c:pt>
                <c:pt idx="3937">
                  <c:v>7821.9059999999999</c:v>
                </c:pt>
                <c:pt idx="3938">
                  <c:v>7821.8460000000014</c:v>
                </c:pt>
                <c:pt idx="3939">
                  <c:v>7821.7889999999998</c:v>
                </c:pt>
                <c:pt idx="3940">
                  <c:v>7819.5930000000008</c:v>
                </c:pt>
                <c:pt idx="3941">
                  <c:v>7816.6880000000001</c:v>
                </c:pt>
                <c:pt idx="3942">
                  <c:v>7816.6820000000034</c:v>
                </c:pt>
                <c:pt idx="3943">
                  <c:v>7807.5690000000004</c:v>
                </c:pt>
                <c:pt idx="3944">
                  <c:v>7802.5030000000015</c:v>
                </c:pt>
                <c:pt idx="3945">
                  <c:v>7796.835</c:v>
                </c:pt>
                <c:pt idx="3946">
                  <c:v>7796.5230000000001</c:v>
                </c:pt>
                <c:pt idx="3947">
                  <c:v>7795.2040000000006</c:v>
                </c:pt>
                <c:pt idx="3948">
                  <c:v>7792.0230000000001</c:v>
                </c:pt>
                <c:pt idx="3949">
                  <c:v>7788.9149999999991</c:v>
                </c:pt>
                <c:pt idx="3950">
                  <c:v>7788.9000000000005</c:v>
                </c:pt>
                <c:pt idx="3951">
                  <c:v>7785.08</c:v>
                </c:pt>
                <c:pt idx="3952">
                  <c:v>7783.9560000000001</c:v>
                </c:pt>
                <c:pt idx="3953">
                  <c:v>7782.8079999999991</c:v>
                </c:pt>
                <c:pt idx="3954">
                  <c:v>7780.7</c:v>
                </c:pt>
                <c:pt idx="3955">
                  <c:v>7778.4860000000008</c:v>
                </c:pt>
                <c:pt idx="3956">
                  <c:v>7776.4250000000002</c:v>
                </c:pt>
                <c:pt idx="3957">
                  <c:v>7774.4470000000001</c:v>
                </c:pt>
                <c:pt idx="3958">
                  <c:v>7772.81</c:v>
                </c:pt>
                <c:pt idx="3959">
                  <c:v>7771.72</c:v>
                </c:pt>
                <c:pt idx="3960">
                  <c:v>7771.6880000000001</c:v>
                </c:pt>
                <c:pt idx="3961">
                  <c:v>7763.4529999999995</c:v>
                </c:pt>
                <c:pt idx="3962">
                  <c:v>7762.5420000000004</c:v>
                </c:pt>
                <c:pt idx="3963">
                  <c:v>7758.5660000000034</c:v>
                </c:pt>
                <c:pt idx="3964">
                  <c:v>7756.7999999999993</c:v>
                </c:pt>
                <c:pt idx="3965">
                  <c:v>7756.3320000000003</c:v>
                </c:pt>
                <c:pt idx="3966">
                  <c:v>7754.5329999999994</c:v>
                </c:pt>
                <c:pt idx="3967">
                  <c:v>7753.9900000000007</c:v>
                </c:pt>
                <c:pt idx="3968">
                  <c:v>7753.848</c:v>
                </c:pt>
                <c:pt idx="3969">
                  <c:v>7751.0679999999993</c:v>
                </c:pt>
                <c:pt idx="3970">
                  <c:v>7747.8440000000001</c:v>
                </c:pt>
                <c:pt idx="3971">
                  <c:v>7746.3860000000004</c:v>
                </c:pt>
                <c:pt idx="3972">
                  <c:v>7743.6450000000013</c:v>
                </c:pt>
                <c:pt idx="3973">
                  <c:v>7743.6190000000024</c:v>
                </c:pt>
                <c:pt idx="3974">
                  <c:v>7733.1389999999992</c:v>
                </c:pt>
                <c:pt idx="3975">
                  <c:v>7731.8360000000011</c:v>
                </c:pt>
                <c:pt idx="3976">
                  <c:v>7730.9710000000005</c:v>
                </c:pt>
                <c:pt idx="3977">
                  <c:v>7726.1790000000001</c:v>
                </c:pt>
                <c:pt idx="3978">
                  <c:v>7725.6040000000003</c:v>
                </c:pt>
                <c:pt idx="3979">
                  <c:v>7724.2240000000002</c:v>
                </c:pt>
                <c:pt idx="3980">
                  <c:v>7722.8030000000008</c:v>
                </c:pt>
                <c:pt idx="3981">
                  <c:v>7720.8250000000044</c:v>
                </c:pt>
                <c:pt idx="3982">
                  <c:v>7719.7729999999992</c:v>
                </c:pt>
                <c:pt idx="3983">
                  <c:v>7713.51</c:v>
                </c:pt>
                <c:pt idx="3984">
                  <c:v>7712.5680000000011</c:v>
                </c:pt>
                <c:pt idx="3985">
                  <c:v>7711.1360000000004</c:v>
                </c:pt>
                <c:pt idx="3986">
                  <c:v>7710.9640000000009</c:v>
                </c:pt>
                <c:pt idx="3987">
                  <c:v>7709.1820000000034</c:v>
                </c:pt>
                <c:pt idx="3988">
                  <c:v>7691.98</c:v>
                </c:pt>
                <c:pt idx="3989">
                  <c:v>7689.1080000000002</c:v>
                </c:pt>
                <c:pt idx="3990">
                  <c:v>7687.4230000000016</c:v>
                </c:pt>
                <c:pt idx="3991">
                  <c:v>7687.2520000000004</c:v>
                </c:pt>
                <c:pt idx="3992">
                  <c:v>7685.7970000000005</c:v>
                </c:pt>
                <c:pt idx="3993">
                  <c:v>7681.8150000000014</c:v>
                </c:pt>
                <c:pt idx="3994">
                  <c:v>7678.6890000000003</c:v>
                </c:pt>
                <c:pt idx="3995">
                  <c:v>7674.1930000000002</c:v>
                </c:pt>
                <c:pt idx="3996">
                  <c:v>7671.6720000000014</c:v>
                </c:pt>
                <c:pt idx="3997">
                  <c:v>7670.2690000000002</c:v>
                </c:pt>
                <c:pt idx="3998">
                  <c:v>7669.76</c:v>
                </c:pt>
                <c:pt idx="3999">
                  <c:v>7663.38</c:v>
                </c:pt>
                <c:pt idx="4000">
                  <c:v>7661.1440000000002</c:v>
                </c:pt>
                <c:pt idx="4001">
                  <c:v>7661.1160000000054</c:v>
                </c:pt>
                <c:pt idx="4002">
                  <c:v>7657.509</c:v>
                </c:pt>
                <c:pt idx="4003">
                  <c:v>7656.2300000000005</c:v>
                </c:pt>
                <c:pt idx="4004">
                  <c:v>7653.7420000000002</c:v>
                </c:pt>
                <c:pt idx="4005">
                  <c:v>7652.6670000000022</c:v>
                </c:pt>
                <c:pt idx="4006">
                  <c:v>7648.2339999999995</c:v>
                </c:pt>
                <c:pt idx="4007">
                  <c:v>7645.679333</c:v>
                </c:pt>
                <c:pt idx="4008">
                  <c:v>7645.3640000000014</c:v>
                </c:pt>
                <c:pt idx="4009">
                  <c:v>7645.1600000000044</c:v>
                </c:pt>
                <c:pt idx="4010">
                  <c:v>7643.7150000000001</c:v>
                </c:pt>
                <c:pt idx="4011">
                  <c:v>7641.924</c:v>
                </c:pt>
                <c:pt idx="4012">
                  <c:v>7639.5749999999989</c:v>
                </c:pt>
                <c:pt idx="4013">
                  <c:v>7639.2130000000006</c:v>
                </c:pt>
                <c:pt idx="4014">
                  <c:v>7637.7289999999994</c:v>
                </c:pt>
                <c:pt idx="4015">
                  <c:v>7637.4460000000008</c:v>
                </c:pt>
                <c:pt idx="4016">
                  <c:v>7634.5059999999994</c:v>
                </c:pt>
                <c:pt idx="4017">
                  <c:v>7632.2630000000008</c:v>
                </c:pt>
                <c:pt idx="4018">
                  <c:v>7629.7480000000005</c:v>
                </c:pt>
                <c:pt idx="4019">
                  <c:v>7629.1870000000008</c:v>
                </c:pt>
                <c:pt idx="4020">
                  <c:v>7628.0760000000009</c:v>
                </c:pt>
                <c:pt idx="4021">
                  <c:v>7626.6170000000002</c:v>
                </c:pt>
                <c:pt idx="4022">
                  <c:v>7625.1640000000034</c:v>
                </c:pt>
                <c:pt idx="4023">
                  <c:v>7624.7690000000002</c:v>
                </c:pt>
                <c:pt idx="4024">
                  <c:v>7623.7769999999991</c:v>
                </c:pt>
                <c:pt idx="4025">
                  <c:v>7623.6090000000013</c:v>
                </c:pt>
                <c:pt idx="4026">
                  <c:v>7623.1310000000012</c:v>
                </c:pt>
                <c:pt idx="4027">
                  <c:v>7621.6560000000054</c:v>
                </c:pt>
                <c:pt idx="4028">
                  <c:v>7620.9579999999996</c:v>
                </c:pt>
                <c:pt idx="4029">
                  <c:v>7618.857</c:v>
                </c:pt>
                <c:pt idx="4030">
                  <c:v>7616.3120000000044</c:v>
                </c:pt>
                <c:pt idx="4031">
                  <c:v>7612.2979999999989</c:v>
                </c:pt>
                <c:pt idx="4032">
                  <c:v>7607.8650000000034</c:v>
                </c:pt>
                <c:pt idx="4033">
                  <c:v>7606.7829999999994</c:v>
                </c:pt>
                <c:pt idx="4034">
                  <c:v>7602.3020000000024</c:v>
                </c:pt>
                <c:pt idx="4035">
                  <c:v>7601.7099999999991</c:v>
                </c:pt>
                <c:pt idx="4036">
                  <c:v>7596.3089999999993</c:v>
                </c:pt>
                <c:pt idx="4037">
                  <c:v>7594.8740000000007</c:v>
                </c:pt>
                <c:pt idx="4038">
                  <c:v>7594.4699999999993</c:v>
                </c:pt>
                <c:pt idx="4039">
                  <c:v>7590.3980000000001</c:v>
                </c:pt>
                <c:pt idx="4040">
                  <c:v>7582.6250000000055</c:v>
                </c:pt>
                <c:pt idx="4041">
                  <c:v>7579.8889999999992</c:v>
                </c:pt>
                <c:pt idx="4042">
                  <c:v>7578.6500000000024</c:v>
                </c:pt>
                <c:pt idx="4043">
                  <c:v>7578.5470000000005</c:v>
                </c:pt>
                <c:pt idx="4044">
                  <c:v>7576.3709999999992</c:v>
                </c:pt>
                <c:pt idx="4045">
                  <c:v>7576.1450000000004</c:v>
                </c:pt>
                <c:pt idx="4046">
                  <c:v>7575.7480000000005</c:v>
                </c:pt>
                <c:pt idx="4047">
                  <c:v>7573.2440000000006</c:v>
                </c:pt>
                <c:pt idx="4048">
                  <c:v>7572.3320000000003</c:v>
                </c:pt>
                <c:pt idx="4049">
                  <c:v>7570.6280000000024</c:v>
                </c:pt>
                <c:pt idx="4050">
                  <c:v>7570.4450000000006</c:v>
                </c:pt>
                <c:pt idx="4051">
                  <c:v>7569.31</c:v>
                </c:pt>
                <c:pt idx="4052">
                  <c:v>7565.71</c:v>
                </c:pt>
                <c:pt idx="4053">
                  <c:v>7565.3700000000008</c:v>
                </c:pt>
                <c:pt idx="4054">
                  <c:v>7560.3040000000001</c:v>
                </c:pt>
                <c:pt idx="4055">
                  <c:v>7559.3550000000014</c:v>
                </c:pt>
                <c:pt idx="4056">
                  <c:v>7558.9010000000007</c:v>
                </c:pt>
                <c:pt idx="4057">
                  <c:v>7558.7400000000007</c:v>
                </c:pt>
                <c:pt idx="4058">
                  <c:v>7555.6250000000055</c:v>
                </c:pt>
                <c:pt idx="4059">
                  <c:v>7551.0080000000007</c:v>
                </c:pt>
                <c:pt idx="4060">
                  <c:v>7551.0060000000003</c:v>
                </c:pt>
                <c:pt idx="4061">
                  <c:v>7550.9319999999998</c:v>
                </c:pt>
                <c:pt idx="4062">
                  <c:v>7547.6579999999994</c:v>
                </c:pt>
                <c:pt idx="4063">
                  <c:v>7547.018</c:v>
                </c:pt>
                <c:pt idx="4064">
                  <c:v>7544.4860000000008</c:v>
                </c:pt>
                <c:pt idx="4065">
                  <c:v>7544.0810000000001</c:v>
                </c:pt>
                <c:pt idx="4066">
                  <c:v>7543.9879999999994</c:v>
                </c:pt>
                <c:pt idx="4067">
                  <c:v>7540.1690000000044</c:v>
                </c:pt>
                <c:pt idx="4068">
                  <c:v>7539.2570000000005</c:v>
                </c:pt>
                <c:pt idx="4069">
                  <c:v>7538.1750000000002</c:v>
                </c:pt>
                <c:pt idx="4070">
                  <c:v>7536.2779999999975</c:v>
                </c:pt>
                <c:pt idx="4071">
                  <c:v>7535.5510000000004</c:v>
                </c:pt>
                <c:pt idx="4072">
                  <c:v>7534.9640000000009</c:v>
                </c:pt>
                <c:pt idx="4073">
                  <c:v>7528.4299999999994</c:v>
                </c:pt>
                <c:pt idx="4074">
                  <c:v>7528.2999999999993</c:v>
                </c:pt>
                <c:pt idx="4075">
                  <c:v>7526.4820000000009</c:v>
                </c:pt>
                <c:pt idx="4076">
                  <c:v>7522.6530000000002</c:v>
                </c:pt>
                <c:pt idx="4077">
                  <c:v>7519.1940000000004</c:v>
                </c:pt>
                <c:pt idx="4078">
                  <c:v>7519.1910000000034</c:v>
                </c:pt>
                <c:pt idx="4079">
                  <c:v>7517.6350000000002</c:v>
                </c:pt>
                <c:pt idx="4080">
                  <c:v>7513.1510000000044</c:v>
                </c:pt>
                <c:pt idx="4081">
                  <c:v>7511.4570000000003</c:v>
                </c:pt>
                <c:pt idx="4082">
                  <c:v>7509.6170000000002</c:v>
                </c:pt>
                <c:pt idx="4083">
                  <c:v>7508.5140000000001</c:v>
                </c:pt>
                <c:pt idx="4084">
                  <c:v>7507.5150000000012</c:v>
                </c:pt>
                <c:pt idx="4085">
                  <c:v>7503.1100000000024</c:v>
                </c:pt>
                <c:pt idx="4086">
                  <c:v>7502.3130000000001</c:v>
                </c:pt>
                <c:pt idx="4087">
                  <c:v>7499.1399999999994</c:v>
                </c:pt>
                <c:pt idx="4088">
                  <c:v>7495.2750000000005</c:v>
                </c:pt>
                <c:pt idx="4089">
                  <c:v>7492.3490000000002</c:v>
                </c:pt>
                <c:pt idx="4090">
                  <c:v>7490.2130000000006</c:v>
                </c:pt>
                <c:pt idx="4091">
                  <c:v>7486.1320000000014</c:v>
                </c:pt>
                <c:pt idx="4092">
                  <c:v>7485.8940000000002</c:v>
                </c:pt>
                <c:pt idx="4093">
                  <c:v>7485.2699999999995</c:v>
                </c:pt>
                <c:pt idx="4094">
                  <c:v>7481.7330000000002</c:v>
                </c:pt>
                <c:pt idx="4095">
                  <c:v>7474.6620000000057</c:v>
                </c:pt>
                <c:pt idx="4096">
                  <c:v>7471.7490000000007</c:v>
                </c:pt>
                <c:pt idx="4097">
                  <c:v>7471.7260000000024</c:v>
                </c:pt>
                <c:pt idx="4098">
                  <c:v>7466.8950000000013</c:v>
                </c:pt>
                <c:pt idx="4099">
                  <c:v>7459.0630000000001</c:v>
                </c:pt>
                <c:pt idx="4100">
                  <c:v>7458.9429999999993</c:v>
                </c:pt>
                <c:pt idx="4101">
                  <c:v>7455.9900000000007</c:v>
                </c:pt>
                <c:pt idx="4102">
                  <c:v>7453.7960000000003</c:v>
                </c:pt>
                <c:pt idx="4103">
                  <c:v>7452.9789999999994</c:v>
                </c:pt>
                <c:pt idx="4104">
                  <c:v>7452.5790000000006</c:v>
                </c:pt>
                <c:pt idx="4105">
                  <c:v>7449.0430000000006</c:v>
                </c:pt>
                <c:pt idx="4106">
                  <c:v>7447.3200000000024</c:v>
                </c:pt>
                <c:pt idx="4107">
                  <c:v>7443.3980000000001</c:v>
                </c:pt>
                <c:pt idx="4108">
                  <c:v>7442.8870000000006</c:v>
                </c:pt>
                <c:pt idx="4109">
                  <c:v>7439.4140000000007</c:v>
                </c:pt>
                <c:pt idx="4110">
                  <c:v>7438.6489999999994</c:v>
                </c:pt>
                <c:pt idx="4111">
                  <c:v>7438.494999999999</c:v>
                </c:pt>
                <c:pt idx="4112">
                  <c:v>7437.0340000000006</c:v>
                </c:pt>
                <c:pt idx="4113">
                  <c:v>7436.8590000000004</c:v>
                </c:pt>
                <c:pt idx="4114">
                  <c:v>7436.4850000000006</c:v>
                </c:pt>
                <c:pt idx="4115">
                  <c:v>7433.7100000000009</c:v>
                </c:pt>
                <c:pt idx="4116">
                  <c:v>7432.253999999999</c:v>
                </c:pt>
                <c:pt idx="4117">
                  <c:v>7425.5120000000024</c:v>
                </c:pt>
                <c:pt idx="4118">
                  <c:v>7424.0380000000005</c:v>
                </c:pt>
                <c:pt idx="4119">
                  <c:v>7422.308</c:v>
                </c:pt>
                <c:pt idx="4120">
                  <c:v>7418.8560000000034</c:v>
                </c:pt>
                <c:pt idx="4121">
                  <c:v>7413.9660000000003</c:v>
                </c:pt>
                <c:pt idx="4122">
                  <c:v>7413.2</c:v>
                </c:pt>
                <c:pt idx="4123">
                  <c:v>7408.4010000000007</c:v>
                </c:pt>
                <c:pt idx="4124">
                  <c:v>7406.5890000000009</c:v>
                </c:pt>
                <c:pt idx="4125">
                  <c:v>7403.6260000000057</c:v>
                </c:pt>
                <c:pt idx="4126">
                  <c:v>7399.735999999999</c:v>
                </c:pt>
                <c:pt idx="4127">
                  <c:v>7398.4160000000011</c:v>
                </c:pt>
                <c:pt idx="4128">
                  <c:v>7397.2809999999999</c:v>
                </c:pt>
                <c:pt idx="4129">
                  <c:v>7396.3290000000034</c:v>
                </c:pt>
                <c:pt idx="4130">
                  <c:v>7395.4800000000005</c:v>
                </c:pt>
                <c:pt idx="4131">
                  <c:v>7392.8140000000003</c:v>
                </c:pt>
                <c:pt idx="4132">
                  <c:v>7390.469000000001</c:v>
                </c:pt>
                <c:pt idx="4133">
                  <c:v>7389.4450000000006</c:v>
                </c:pt>
                <c:pt idx="4134">
                  <c:v>7387.5420000000004</c:v>
                </c:pt>
                <c:pt idx="4135">
                  <c:v>7382.6530000000002</c:v>
                </c:pt>
                <c:pt idx="4136">
                  <c:v>7382.2</c:v>
                </c:pt>
                <c:pt idx="4137">
                  <c:v>7381.8110000000024</c:v>
                </c:pt>
                <c:pt idx="4138">
                  <c:v>7379.7670000000007</c:v>
                </c:pt>
                <c:pt idx="4139">
                  <c:v>7377.8960000000034</c:v>
                </c:pt>
                <c:pt idx="4140">
                  <c:v>7375.7650000000003</c:v>
                </c:pt>
                <c:pt idx="4141">
                  <c:v>7374.4349999999995</c:v>
                </c:pt>
                <c:pt idx="4142">
                  <c:v>7371.2440000000006</c:v>
                </c:pt>
                <c:pt idx="4143">
                  <c:v>7370.8280000000004</c:v>
                </c:pt>
                <c:pt idx="4144">
                  <c:v>7370.4964999999993</c:v>
                </c:pt>
                <c:pt idx="4145">
                  <c:v>7368.5080000000007</c:v>
                </c:pt>
                <c:pt idx="4146">
                  <c:v>7367.9610000000002</c:v>
                </c:pt>
                <c:pt idx="4147">
                  <c:v>7365.3180000000002</c:v>
                </c:pt>
                <c:pt idx="4148">
                  <c:v>7362.4149999999991</c:v>
                </c:pt>
                <c:pt idx="4149">
                  <c:v>7362.1470000000018</c:v>
                </c:pt>
                <c:pt idx="4150">
                  <c:v>7360.9100000000008</c:v>
                </c:pt>
                <c:pt idx="4151">
                  <c:v>7358.0589999999993</c:v>
                </c:pt>
                <c:pt idx="4152">
                  <c:v>7356.7920000000004</c:v>
                </c:pt>
                <c:pt idx="4153">
                  <c:v>7355.4699999999993</c:v>
                </c:pt>
                <c:pt idx="4154">
                  <c:v>7353.8040000000001</c:v>
                </c:pt>
                <c:pt idx="4155">
                  <c:v>7348.0230000000001</c:v>
                </c:pt>
                <c:pt idx="4156">
                  <c:v>7347.875</c:v>
                </c:pt>
                <c:pt idx="4157">
                  <c:v>7347.7430000000004</c:v>
                </c:pt>
                <c:pt idx="4158">
                  <c:v>7347.567</c:v>
                </c:pt>
                <c:pt idx="4159">
                  <c:v>7342.3120000000044</c:v>
                </c:pt>
                <c:pt idx="4160">
                  <c:v>7338.5630000000001</c:v>
                </c:pt>
                <c:pt idx="4161">
                  <c:v>7337.8200000000024</c:v>
                </c:pt>
                <c:pt idx="4162">
                  <c:v>7335.9569999999994</c:v>
                </c:pt>
                <c:pt idx="4163">
                  <c:v>7334.8770000000004</c:v>
                </c:pt>
                <c:pt idx="4164">
                  <c:v>7334.2220000000034</c:v>
                </c:pt>
                <c:pt idx="4165">
                  <c:v>7332.8510000000024</c:v>
                </c:pt>
                <c:pt idx="4166">
                  <c:v>7329.308</c:v>
                </c:pt>
                <c:pt idx="4167">
                  <c:v>7323.259</c:v>
                </c:pt>
                <c:pt idx="4168">
                  <c:v>7321.5760000000009</c:v>
                </c:pt>
                <c:pt idx="4169">
                  <c:v>7315.9369999999999</c:v>
                </c:pt>
                <c:pt idx="4170">
                  <c:v>7315.4319999999998</c:v>
                </c:pt>
                <c:pt idx="4171">
                  <c:v>7313.5610000000024</c:v>
                </c:pt>
                <c:pt idx="4172">
                  <c:v>7312.1960000000054</c:v>
                </c:pt>
                <c:pt idx="4173">
                  <c:v>7309.8330000000005</c:v>
                </c:pt>
                <c:pt idx="4174">
                  <c:v>7308.3820000000014</c:v>
                </c:pt>
                <c:pt idx="4175">
                  <c:v>7306.7160000000003</c:v>
                </c:pt>
                <c:pt idx="4176">
                  <c:v>7306.5430000000006</c:v>
                </c:pt>
                <c:pt idx="4177">
                  <c:v>7304.7270000000008</c:v>
                </c:pt>
                <c:pt idx="4178">
                  <c:v>7301.7690000000002</c:v>
                </c:pt>
                <c:pt idx="4179">
                  <c:v>7300.0360000000001</c:v>
                </c:pt>
                <c:pt idx="4180">
                  <c:v>7299.027</c:v>
                </c:pt>
                <c:pt idx="4181">
                  <c:v>7297.9150000000009</c:v>
                </c:pt>
                <c:pt idx="4182">
                  <c:v>7296.9679999999998</c:v>
                </c:pt>
                <c:pt idx="4183">
                  <c:v>7296.3110000000024</c:v>
                </c:pt>
                <c:pt idx="4184">
                  <c:v>7292.7835549999991</c:v>
                </c:pt>
                <c:pt idx="4185">
                  <c:v>7291.3830000000007</c:v>
                </c:pt>
                <c:pt idx="4186">
                  <c:v>7290.3320000000003</c:v>
                </c:pt>
                <c:pt idx="4187">
                  <c:v>7288.3690000000024</c:v>
                </c:pt>
                <c:pt idx="4188">
                  <c:v>7287.3360000000002</c:v>
                </c:pt>
                <c:pt idx="4189">
                  <c:v>7283.1840000000002</c:v>
                </c:pt>
                <c:pt idx="4190">
                  <c:v>7276.6980000000003</c:v>
                </c:pt>
                <c:pt idx="4191">
                  <c:v>7276.0110000000013</c:v>
                </c:pt>
                <c:pt idx="4192">
                  <c:v>7275.5389999999998</c:v>
                </c:pt>
                <c:pt idx="4193">
                  <c:v>7275.2220000000034</c:v>
                </c:pt>
                <c:pt idx="4194">
                  <c:v>7270.3130000000001</c:v>
                </c:pt>
                <c:pt idx="4195">
                  <c:v>7268.585</c:v>
                </c:pt>
                <c:pt idx="4196">
                  <c:v>7268.4429999999993</c:v>
                </c:pt>
                <c:pt idx="4197">
                  <c:v>7266.2930000000006</c:v>
                </c:pt>
                <c:pt idx="4198">
                  <c:v>7264.893</c:v>
                </c:pt>
                <c:pt idx="4199">
                  <c:v>7263.0570000000016</c:v>
                </c:pt>
                <c:pt idx="4200">
                  <c:v>7262.107</c:v>
                </c:pt>
                <c:pt idx="4201">
                  <c:v>7259.5210000000034</c:v>
                </c:pt>
                <c:pt idx="4202">
                  <c:v>7257.2980000000007</c:v>
                </c:pt>
                <c:pt idx="4203">
                  <c:v>7254.3600000000024</c:v>
                </c:pt>
                <c:pt idx="4204">
                  <c:v>7252.9290000000001</c:v>
                </c:pt>
                <c:pt idx="4205">
                  <c:v>7251.6330000000007</c:v>
                </c:pt>
                <c:pt idx="4206">
                  <c:v>7249.4180000000006</c:v>
                </c:pt>
                <c:pt idx="4207">
                  <c:v>7248.4170000000004</c:v>
                </c:pt>
                <c:pt idx="4208">
                  <c:v>7246.3550000000014</c:v>
                </c:pt>
                <c:pt idx="4209">
                  <c:v>7242.8200000000024</c:v>
                </c:pt>
                <c:pt idx="4210">
                  <c:v>7241.494999999999</c:v>
                </c:pt>
                <c:pt idx="4211">
                  <c:v>7240.5350000000008</c:v>
                </c:pt>
                <c:pt idx="4212">
                  <c:v>7240.4849999999988</c:v>
                </c:pt>
                <c:pt idx="4213">
                  <c:v>7239.8960000000034</c:v>
                </c:pt>
                <c:pt idx="4214">
                  <c:v>7236.2170000000015</c:v>
                </c:pt>
                <c:pt idx="4215">
                  <c:v>7235.8050000000003</c:v>
                </c:pt>
                <c:pt idx="4216">
                  <c:v>7233.4329999999991</c:v>
                </c:pt>
                <c:pt idx="4217">
                  <c:v>7232.3370000000004</c:v>
                </c:pt>
                <c:pt idx="4218">
                  <c:v>7231.1940000000004</c:v>
                </c:pt>
                <c:pt idx="4219">
                  <c:v>7226.2430000000004</c:v>
                </c:pt>
                <c:pt idx="4220">
                  <c:v>7223.9339999999993</c:v>
                </c:pt>
                <c:pt idx="4221">
                  <c:v>7222.3740000000007</c:v>
                </c:pt>
                <c:pt idx="4222">
                  <c:v>7215.3260000000055</c:v>
                </c:pt>
                <c:pt idx="4223">
                  <c:v>7213.8220000000047</c:v>
                </c:pt>
                <c:pt idx="4224">
                  <c:v>7213.5290000000014</c:v>
                </c:pt>
                <c:pt idx="4225">
                  <c:v>7211.9920000000002</c:v>
                </c:pt>
                <c:pt idx="4226">
                  <c:v>7211.1310000000003</c:v>
                </c:pt>
                <c:pt idx="4227">
                  <c:v>7210.2170000000006</c:v>
                </c:pt>
                <c:pt idx="4228">
                  <c:v>7209.2469999999994</c:v>
                </c:pt>
                <c:pt idx="4229">
                  <c:v>7206.5660000000034</c:v>
                </c:pt>
                <c:pt idx="4230">
                  <c:v>7202.7840000000006</c:v>
                </c:pt>
                <c:pt idx="4231">
                  <c:v>7200.6510000000044</c:v>
                </c:pt>
                <c:pt idx="4232">
                  <c:v>7194.6520000000055</c:v>
                </c:pt>
                <c:pt idx="4233">
                  <c:v>7192.8390000000009</c:v>
                </c:pt>
                <c:pt idx="4234">
                  <c:v>7192.1220000000058</c:v>
                </c:pt>
                <c:pt idx="4235">
                  <c:v>7189.0980000000009</c:v>
                </c:pt>
                <c:pt idx="4236">
                  <c:v>7186.3970000000008</c:v>
                </c:pt>
                <c:pt idx="4237">
                  <c:v>7184.6990000000014</c:v>
                </c:pt>
                <c:pt idx="4238">
                  <c:v>7177.9509999999991</c:v>
                </c:pt>
                <c:pt idx="4239">
                  <c:v>7177.6240000000034</c:v>
                </c:pt>
                <c:pt idx="4240">
                  <c:v>7175.3979999999992</c:v>
                </c:pt>
                <c:pt idx="4241">
                  <c:v>7175.3350000000009</c:v>
                </c:pt>
                <c:pt idx="4242">
                  <c:v>7171.6810000000014</c:v>
                </c:pt>
                <c:pt idx="4243">
                  <c:v>7165.0849999999991</c:v>
                </c:pt>
                <c:pt idx="4244">
                  <c:v>7163.7520000000004</c:v>
                </c:pt>
                <c:pt idx="4245">
                  <c:v>7163.4270000000006</c:v>
                </c:pt>
                <c:pt idx="4246">
                  <c:v>7163.0550000000003</c:v>
                </c:pt>
                <c:pt idx="4247">
                  <c:v>7161.1880000000001</c:v>
                </c:pt>
                <c:pt idx="4248">
                  <c:v>7160.5700000000006</c:v>
                </c:pt>
                <c:pt idx="4249">
                  <c:v>7159.5769999999993</c:v>
                </c:pt>
                <c:pt idx="4250">
                  <c:v>7155.5910000000003</c:v>
                </c:pt>
                <c:pt idx="4251">
                  <c:v>7147.1600000000044</c:v>
                </c:pt>
                <c:pt idx="4252">
                  <c:v>7146.4160000000002</c:v>
                </c:pt>
                <c:pt idx="4253">
                  <c:v>7145.53</c:v>
                </c:pt>
                <c:pt idx="4254">
                  <c:v>7142.5550000000003</c:v>
                </c:pt>
                <c:pt idx="4255">
                  <c:v>7138.3340000000007</c:v>
                </c:pt>
                <c:pt idx="4256">
                  <c:v>7137.1460000000034</c:v>
                </c:pt>
                <c:pt idx="4257">
                  <c:v>7134.2520000000004</c:v>
                </c:pt>
                <c:pt idx="4258">
                  <c:v>7132.7850000000008</c:v>
                </c:pt>
                <c:pt idx="4259">
                  <c:v>7129.7650000000012</c:v>
                </c:pt>
                <c:pt idx="4260">
                  <c:v>7128.683</c:v>
                </c:pt>
                <c:pt idx="4261">
                  <c:v>7126.0010000000002</c:v>
                </c:pt>
                <c:pt idx="4262">
                  <c:v>7125.8130000000001</c:v>
                </c:pt>
                <c:pt idx="4263">
                  <c:v>7123.3150000000014</c:v>
                </c:pt>
                <c:pt idx="4264">
                  <c:v>7121.6070000000009</c:v>
                </c:pt>
                <c:pt idx="4265">
                  <c:v>7120.130000000001</c:v>
                </c:pt>
                <c:pt idx="4266">
                  <c:v>7120.0350000000008</c:v>
                </c:pt>
                <c:pt idx="4267">
                  <c:v>7119.924</c:v>
                </c:pt>
                <c:pt idx="4268">
                  <c:v>7119.674</c:v>
                </c:pt>
                <c:pt idx="4269">
                  <c:v>7119.1120000000055</c:v>
                </c:pt>
                <c:pt idx="4270">
                  <c:v>7118.4180000000006</c:v>
                </c:pt>
                <c:pt idx="4271">
                  <c:v>7118.1010000000024</c:v>
                </c:pt>
                <c:pt idx="4272">
                  <c:v>7113.4090000000006</c:v>
                </c:pt>
                <c:pt idx="4273">
                  <c:v>7113.2880000000005</c:v>
                </c:pt>
                <c:pt idx="4274">
                  <c:v>7112.4509999999991</c:v>
                </c:pt>
                <c:pt idx="4275">
                  <c:v>7109.7069999999994</c:v>
                </c:pt>
                <c:pt idx="4276">
                  <c:v>7097.7860000000001</c:v>
                </c:pt>
                <c:pt idx="4277">
                  <c:v>7096.4310000000005</c:v>
                </c:pt>
                <c:pt idx="4278">
                  <c:v>7094.5060000000003</c:v>
                </c:pt>
                <c:pt idx="4279">
                  <c:v>7094.4439999999995</c:v>
                </c:pt>
                <c:pt idx="4280">
                  <c:v>7093.884</c:v>
                </c:pt>
                <c:pt idx="4281">
                  <c:v>7087.576</c:v>
                </c:pt>
                <c:pt idx="4282">
                  <c:v>7087.2920000000004</c:v>
                </c:pt>
                <c:pt idx="4283">
                  <c:v>7084.4290000000001</c:v>
                </c:pt>
                <c:pt idx="4284">
                  <c:v>7083.3780000000006</c:v>
                </c:pt>
                <c:pt idx="4285">
                  <c:v>7080.3270000000002</c:v>
                </c:pt>
                <c:pt idx="4286">
                  <c:v>7080.2420000000002</c:v>
                </c:pt>
                <c:pt idx="4287">
                  <c:v>7079.13</c:v>
                </c:pt>
                <c:pt idx="4288">
                  <c:v>7079.0160000000014</c:v>
                </c:pt>
                <c:pt idx="4289">
                  <c:v>7078.915</c:v>
                </c:pt>
                <c:pt idx="4290">
                  <c:v>7077.3200000000024</c:v>
                </c:pt>
                <c:pt idx="4291">
                  <c:v>7074.8690000000024</c:v>
                </c:pt>
                <c:pt idx="4292">
                  <c:v>7074.7850000000008</c:v>
                </c:pt>
                <c:pt idx="4293">
                  <c:v>7073.7610000000013</c:v>
                </c:pt>
                <c:pt idx="4294">
                  <c:v>7073.3950000000013</c:v>
                </c:pt>
                <c:pt idx="4295">
                  <c:v>7073.2220000000034</c:v>
                </c:pt>
                <c:pt idx="4296">
                  <c:v>7072.1280000000024</c:v>
                </c:pt>
                <c:pt idx="4297">
                  <c:v>7072.0510000000004</c:v>
                </c:pt>
                <c:pt idx="4298">
                  <c:v>7069.0340000000006</c:v>
                </c:pt>
                <c:pt idx="4299">
                  <c:v>7067.4769999999999</c:v>
                </c:pt>
                <c:pt idx="4300">
                  <c:v>7065.7719999999999</c:v>
                </c:pt>
                <c:pt idx="4301">
                  <c:v>7064.8010000000004</c:v>
                </c:pt>
                <c:pt idx="4302">
                  <c:v>7061.7410000000009</c:v>
                </c:pt>
                <c:pt idx="4303">
                  <c:v>7059.6850000000004</c:v>
                </c:pt>
                <c:pt idx="4304">
                  <c:v>7058.7279999999992</c:v>
                </c:pt>
                <c:pt idx="4305">
                  <c:v>7053.3650000000034</c:v>
                </c:pt>
                <c:pt idx="4306">
                  <c:v>7052.2550000000001</c:v>
                </c:pt>
                <c:pt idx="4307">
                  <c:v>7047.3440000000001</c:v>
                </c:pt>
                <c:pt idx="4308">
                  <c:v>7045.7220000000034</c:v>
                </c:pt>
                <c:pt idx="4309">
                  <c:v>7044.8360000000002</c:v>
                </c:pt>
                <c:pt idx="4310">
                  <c:v>7042.5739999999996</c:v>
                </c:pt>
                <c:pt idx="4311">
                  <c:v>7040.348</c:v>
                </c:pt>
                <c:pt idx="4312">
                  <c:v>7039.4250000000011</c:v>
                </c:pt>
                <c:pt idx="4313">
                  <c:v>7035.8</c:v>
                </c:pt>
                <c:pt idx="4314">
                  <c:v>7028.7480000000005</c:v>
                </c:pt>
                <c:pt idx="4315">
                  <c:v>7026.0930000000017</c:v>
                </c:pt>
                <c:pt idx="4316">
                  <c:v>7022.8170000000009</c:v>
                </c:pt>
                <c:pt idx="4317">
                  <c:v>7022.4600000000009</c:v>
                </c:pt>
                <c:pt idx="4318">
                  <c:v>7022.3510000000024</c:v>
                </c:pt>
                <c:pt idx="4319">
                  <c:v>7021.1110000000044</c:v>
                </c:pt>
                <c:pt idx="4320">
                  <c:v>7020.5050000000001</c:v>
                </c:pt>
                <c:pt idx="4321">
                  <c:v>7017.0220000000054</c:v>
                </c:pt>
                <c:pt idx="4322">
                  <c:v>7011.2140000000009</c:v>
                </c:pt>
                <c:pt idx="4323">
                  <c:v>7010.9410000000007</c:v>
                </c:pt>
                <c:pt idx="4324">
                  <c:v>7007.3230000000003</c:v>
                </c:pt>
                <c:pt idx="4325">
                  <c:v>7007.0779999999995</c:v>
                </c:pt>
                <c:pt idx="4326">
                  <c:v>7003.4280000000008</c:v>
                </c:pt>
                <c:pt idx="4327">
                  <c:v>7000.6600000000044</c:v>
                </c:pt>
                <c:pt idx="4328">
                  <c:v>6998.1020000000044</c:v>
                </c:pt>
                <c:pt idx="4329">
                  <c:v>6997.4609999999993</c:v>
                </c:pt>
                <c:pt idx="4330">
                  <c:v>6997.2910000000002</c:v>
                </c:pt>
                <c:pt idx="4331">
                  <c:v>6992.799</c:v>
                </c:pt>
                <c:pt idx="4332">
                  <c:v>6991.9310000000005</c:v>
                </c:pt>
                <c:pt idx="4333">
                  <c:v>6989.9460000000008</c:v>
                </c:pt>
                <c:pt idx="4334">
                  <c:v>6987.1850000000004</c:v>
                </c:pt>
                <c:pt idx="4335">
                  <c:v>6985.6210000000056</c:v>
                </c:pt>
                <c:pt idx="4336">
                  <c:v>6983.2270000000017</c:v>
                </c:pt>
                <c:pt idx="4337">
                  <c:v>6982.4710000000005</c:v>
                </c:pt>
                <c:pt idx="4338">
                  <c:v>6981.1630000000014</c:v>
                </c:pt>
                <c:pt idx="4339">
                  <c:v>6971.9250000000011</c:v>
                </c:pt>
                <c:pt idx="4340">
                  <c:v>6969.143</c:v>
                </c:pt>
                <c:pt idx="4341">
                  <c:v>6969.0550000000003</c:v>
                </c:pt>
                <c:pt idx="4342">
                  <c:v>6963.5740000000005</c:v>
                </c:pt>
                <c:pt idx="4343">
                  <c:v>6951.4859999999999</c:v>
                </c:pt>
                <c:pt idx="4344">
                  <c:v>6949.8320000000003</c:v>
                </c:pt>
                <c:pt idx="4345">
                  <c:v>6949.5910000000003</c:v>
                </c:pt>
                <c:pt idx="4346">
                  <c:v>6948.7030000000004</c:v>
                </c:pt>
                <c:pt idx="4347">
                  <c:v>6948.0990000000002</c:v>
                </c:pt>
                <c:pt idx="4348">
                  <c:v>6948.0670000000009</c:v>
                </c:pt>
                <c:pt idx="4349">
                  <c:v>6941.317</c:v>
                </c:pt>
                <c:pt idx="4350">
                  <c:v>6940.4090000000006</c:v>
                </c:pt>
                <c:pt idx="4351">
                  <c:v>6940.02</c:v>
                </c:pt>
                <c:pt idx="4352">
                  <c:v>6938.4579999999996</c:v>
                </c:pt>
                <c:pt idx="4353">
                  <c:v>6938.3740000000007</c:v>
                </c:pt>
                <c:pt idx="4354">
                  <c:v>6937.732</c:v>
                </c:pt>
                <c:pt idx="4355">
                  <c:v>6936.4699999999993</c:v>
                </c:pt>
                <c:pt idx="4356">
                  <c:v>6934.7099999999991</c:v>
                </c:pt>
                <c:pt idx="4357">
                  <c:v>6932.8790000000008</c:v>
                </c:pt>
                <c:pt idx="4358">
                  <c:v>6931.0370000000003</c:v>
                </c:pt>
                <c:pt idx="4359">
                  <c:v>6922.4560000000001</c:v>
                </c:pt>
                <c:pt idx="4360">
                  <c:v>6921.4379999999965</c:v>
                </c:pt>
                <c:pt idx="4361">
                  <c:v>6921.0150000000003</c:v>
                </c:pt>
                <c:pt idx="4362">
                  <c:v>6914.424</c:v>
                </c:pt>
                <c:pt idx="4363">
                  <c:v>6911.8280000000004</c:v>
                </c:pt>
                <c:pt idx="4364">
                  <c:v>6911.637999999999</c:v>
                </c:pt>
                <c:pt idx="4365">
                  <c:v>6911.54</c:v>
                </c:pt>
                <c:pt idx="4366">
                  <c:v>6911.2890000000007</c:v>
                </c:pt>
                <c:pt idx="4367">
                  <c:v>6910.6750000000002</c:v>
                </c:pt>
                <c:pt idx="4368">
                  <c:v>6907.84</c:v>
                </c:pt>
                <c:pt idx="4369">
                  <c:v>6905.3060000000014</c:v>
                </c:pt>
                <c:pt idx="4370">
                  <c:v>6903.8810000000003</c:v>
                </c:pt>
                <c:pt idx="4371">
                  <c:v>6902.7339999999995</c:v>
                </c:pt>
                <c:pt idx="4372">
                  <c:v>6897.8030000000008</c:v>
                </c:pt>
                <c:pt idx="4373">
                  <c:v>6897.6050000000014</c:v>
                </c:pt>
                <c:pt idx="4374">
                  <c:v>6896.5520000000024</c:v>
                </c:pt>
                <c:pt idx="4375">
                  <c:v>6885.7729999999992</c:v>
                </c:pt>
                <c:pt idx="4376">
                  <c:v>6884.2820000000002</c:v>
                </c:pt>
                <c:pt idx="4377">
                  <c:v>6880.5140000000001</c:v>
                </c:pt>
                <c:pt idx="4378">
                  <c:v>6878.4379999999965</c:v>
                </c:pt>
                <c:pt idx="4379">
                  <c:v>6875.7910000000002</c:v>
                </c:pt>
                <c:pt idx="4380">
                  <c:v>6875.2899999999991</c:v>
                </c:pt>
                <c:pt idx="4381">
                  <c:v>6874.3380000000006</c:v>
                </c:pt>
                <c:pt idx="4382">
                  <c:v>6873.0139999999992</c:v>
                </c:pt>
                <c:pt idx="4383">
                  <c:v>6872.7210000000014</c:v>
                </c:pt>
                <c:pt idx="4384">
                  <c:v>6872.2739999999994</c:v>
                </c:pt>
                <c:pt idx="4385">
                  <c:v>6870.4739999999965</c:v>
                </c:pt>
                <c:pt idx="4386">
                  <c:v>6869.5360000000001</c:v>
                </c:pt>
                <c:pt idx="4387">
                  <c:v>6869.402000000001</c:v>
                </c:pt>
                <c:pt idx="4388">
                  <c:v>6866.5530000000008</c:v>
                </c:pt>
                <c:pt idx="4389">
                  <c:v>6865.0570000000007</c:v>
                </c:pt>
                <c:pt idx="4390">
                  <c:v>6864.8960000000034</c:v>
                </c:pt>
                <c:pt idx="4391">
                  <c:v>6864.1850000000004</c:v>
                </c:pt>
                <c:pt idx="4392">
                  <c:v>6863.5550000000012</c:v>
                </c:pt>
                <c:pt idx="4393">
                  <c:v>6863.0059999999994</c:v>
                </c:pt>
                <c:pt idx="4394">
                  <c:v>6861.3060000000014</c:v>
                </c:pt>
                <c:pt idx="4395">
                  <c:v>6859.4339999999993</c:v>
                </c:pt>
                <c:pt idx="4396">
                  <c:v>6855.771999999999</c:v>
                </c:pt>
                <c:pt idx="4397">
                  <c:v>6854.5</c:v>
                </c:pt>
                <c:pt idx="4398">
                  <c:v>6852.3740000000007</c:v>
                </c:pt>
                <c:pt idx="4399">
                  <c:v>6852.1160000000054</c:v>
                </c:pt>
                <c:pt idx="4400">
                  <c:v>6846.8150000000014</c:v>
                </c:pt>
                <c:pt idx="4401">
                  <c:v>6846.5399999999991</c:v>
                </c:pt>
                <c:pt idx="4402">
                  <c:v>6845.9069999999992</c:v>
                </c:pt>
                <c:pt idx="4403">
                  <c:v>6845.0830000000005</c:v>
                </c:pt>
                <c:pt idx="4404">
                  <c:v>6844.9069999999992</c:v>
                </c:pt>
                <c:pt idx="4405">
                  <c:v>6843.875</c:v>
                </c:pt>
                <c:pt idx="4406">
                  <c:v>6841.8810000000012</c:v>
                </c:pt>
                <c:pt idx="4407">
                  <c:v>6841.8050000000003</c:v>
                </c:pt>
                <c:pt idx="4408">
                  <c:v>6840.4149999999991</c:v>
                </c:pt>
                <c:pt idx="4409">
                  <c:v>6833.1640000000034</c:v>
                </c:pt>
                <c:pt idx="4410">
                  <c:v>6831.6680000000024</c:v>
                </c:pt>
                <c:pt idx="4411">
                  <c:v>6830.6320000000014</c:v>
                </c:pt>
                <c:pt idx="4412">
                  <c:v>6828.9789999999994</c:v>
                </c:pt>
                <c:pt idx="4413">
                  <c:v>6828.4230000000007</c:v>
                </c:pt>
                <c:pt idx="4414">
                  <c:v>6827.9106110000002</c:v>
                </c:pt>
                <c:pt idx="4415">
                  <c:v>6826.43</c:v>
                </c:pt>
                <c:pt idx="4416">
                  <c:v>6824.9710000000005</c:v>
                </c:pt>
                <c:pt idx="4417">
                  <c:v>6824.7440000000006</c:v>
                </c:pt>
                <c:pt idx="4418">
                  <c:v>6823.3190000000004</c:v>
                </c:pt>
                <c:pt idx="4419">
                  <c:v>6821.6920000000055</c:v>
                </c:pt>
                <c:pt idx="4420">
                  <c:v>6818.6000000000013</c:v>
                </c:pt>
                <c:pt idx="4421">
                  <c:v>6816.6100000000024</c:v>
                </c:pt>
                <c:pt idx="4422">
                  <c:v>6814.3780000000006</c:v>
                </c:pt>
                <c:pt idx="4423">
                  <c:v>6812.268</c:v>
                </c:pt>
                <c:pt idx="4424">
                  <c:v>6810.5319999999992</c:v>
                </c:pt>
                <c:pt idx="4425">
                  <c:v>6809.4850000000006</c:v>
                </c:pt>
                <c:pt idx="4426">
                  <c:v>6807.2520000000013</c:v>
                </c:pt>
                <c:pt idx="4427">
                  <c:v>6806.942</c:v>
                </c:pt>
                <c:pt idx="4428">
                  <c:v>6805.8240000000014</c:v>
                </c:pt>
                <c:pt idx="4429">
                  <c:v>6803.56</c:v>
                </c:pt>
                <c:pt idx="4430">
                  <c:v>6801.884</c:v>
                </c:pt>
                <c:pt idx="4431">
                  <c:v>6799.7829999999994</c:v>
                </c:pt>
                <c:pt idx="4432">
                  <c:v>6797.4529999999995</c:v>
                </c:pt>
                <c:pt idx="4433">
                  <c:v>6797.09</c:v>
                </c:pt>
                <c:pt idx="4434">
                  <c:v>6797.076</c:v>
                </c:pt>
                <c:pt idx="4435">
                  <c:v>6794.2170000000006</c:v>
                </c:pt>
                <c:pt idx="4436">
                  <c:v>6790.8490000000002</c:v>
                </c:pt>
                <c:pt idx="4437">
                  <c:v>6790.7580000000007</c:v>
                </c:pt>
                <c:pt idx="4438">
                  <c:v>6788.0030000000015</c:v>
                </c:pt>
                <c:pt idx="4439">
                  <c:v>6786.4190000000008</c:v>
                </c:pt>
                <c:pt idx="4440">
                  <c:v>6784.8980000000001</c:v>
                </c:pt>
                <c:pt idx="4441">
                  <c:v>6782.2510000000002</c:v>
                </c:pt>
                <c:pt idx="4442">
                  <c:v>6781.81</c:v>
                </c:pt>
                <c:pt idx="4443">
                  <c:v>6778.7400000000007</c:v>
                </c:pt>
                <c:pt idx="4444">
                  <c:v>6777.8130000000001</c:v>
                </c:pt>
                <c:pt idx="4445">
                  <c:v>6772.7950000000001</c:v>
                </c:pt>
                <c:pt idx="4446">
                  <c:v>6763.3530000000001</c:v>
                </c:pt>
                <c:pt idx="4447">
                  <c:v>6760.6390000000001</c:v>
                </c:pt>
                <c:pt idx="4448">
                  <c:v>6760.2779999999975</c:v>
                </c:pt>
                <c:pt idx="4449">
                  <c:v>6760.058</c:v>
                </c:pt>
                <c:pt idx="4450">
                  <c:v>6759.2350000000006</c:v>
                </c:pt>
                <c:pt idx="4451">
                  <c:v>6754.3270000000002</c:v>
                </c:pt>
                <c:pt idx="4452">
                  <c:v>6750.4489999999996</c:v>
                </c:pt>
                <c:pt idx="4453">
                  <c:v>6748.0440000000008</c:v>
                </c:pt>
                <c:pt idx="4454">
                  <c:v>6747.9630000000006</c:v>
                </c:pt>
                <c:pt idx="4455">
                  <c:v>6746.6489999999994</c:v>
                </c:pt>
                <c:pt idx="4456">
                  <c:v>6742.5950000000003</c:v>
                </c:pt>
                <c:pt idx="4457">
                  <c:v>6740.2369999999992</c:v>
                </c:pt>
                <c:pt idx="4458">
                  <c:v>6736.9670000000015</c:v>
                </c:pt>
                <c:pt idx="4459">
                  <c:v>6736.3950000000004</c:v>
                </c:pt>
                <c:pt idx="4460">
                  <c:v>6735.0570000000007</c:v>
                </c:pt>
                <c:pt idx="4461">
                  <c:v>6731</c:v>
                </c:pt>
                <c:pt idx="4462">
                  <c:v>6728.2500000000009</c:v>
                </c:pt>
                <c:pt idx="4463">
                  <c:v>6723.8520000000044</c:v>
                </c:pt>
                <c:pt idx="4464">
                  <c:v>6721.7080000000005</c:v>
                </c:pt>
                <c:pt idx="4465">
                  <c:v>6721.3250000000044</c:v>
                </c:pt>
                <c:pt idx="4466">
                  <c:v>6718.045000000001</c:v>
                </c:pt>
                <c:pt idx="4467">
                  <c:v>6715.4010000000007</c:v>
                </c:pt>
                <c:pt idx="4468">
                  <c:v>6715.0340000000006</c:v>
                </c:pt>
                <c:pt idx="4469">
                  <c:v>6714.976999999999</c:v>
                </c:pt>
                <c:pt idx="4470">
                  <c:v>6714.063056</c:v>
                </c:pt>
                <c:pt idx="4471">
                  <c:v>6712.5340000000015</c:v>
                </c:pt>
                <c:pt idx="4472">
                  <c:v>6712.31</c:v>
                </c:pt>
                <c:pt idx="4473">
                  <c:v>6711.3860000000013</c:v>
                </c:pt>
                <c:pt idx="4474">
                  <c:v>6709.3250000000044</c:v>
                </c:pt>
                <c:pt idx="4475">
                  <c:v>6708.1540000000014</c:v>
                </c:pt>
                <c:pt idx="4476">
                  <c:v>6698.7289999999994</c:v>
                </c:pt>
                <c:pt idx="4477">
                  <c:v>6698.348</c:v>
                </c:pt>
                <c:pt idx="4478">
                  <c:v>6697.5080000000007</c:v>
                </c:pt>
                <c:pt idx="4479">
                  <c:v>6695.5880000000006</c:v>
                </c:pt>
                <c:pt idx="4480">
                  <c:v>6694.4210000000003</c:v>
                </c:pt>
                <c:pt idx="4481">
                  <c:v>6694.29</c:v>
                </c:pt>
                <c:pt idx="4482">
                  <c:v>6692.8770000000004</c:v>
                </c:pt>
                <c:pt idx="4483">
                  <c:v>6691.2029999999995</c:v>
                </c:pt>
                <c:pt idx="4484">
                  <c:v>6690.8720000000003</c:v>
                </c:pt>
                <c:pt idx="4485">
                  <c:v>6690.5280000000012</c:v>
                </c:pt>
                <c:pt idx="4486">
                  <c:v>6682.5839999999998</c:v>
                </c:pt>
                <c:pt idx="4487">
                  <c:v>6681.5520000000024</c:v>
                </c:pt>
                <c:pt idx="4488">
                  <c:v>6680.598</c:v>
                </c:pt>
                <c:pt idx="4489">
                  <c:v>6677.6920000000055</c:v>
                </c:pt>
                <c:pt idx="4490">
                  <c:v>6676.0769999999993</c:v>
                </c:pt>
                <c:pt idx="4491">
                  <c:v>6672.3050000000012</c:v>
                </c:pt>
                <c:pt idx="4492">
                  <c:v>6670.5290000000014</c:v>
                </c:pt>
                <c:pt idx="4493">
                  <c:v>6666.5790000000006</c:v>
                </c:pt>
                <c:pt idx="4494">
                  <c:v>6664.1270000000004</c:v>
                </c:pt>
                <c:pt idx="4495">
                  <c:v>6659.3520000000044</c:v>
                </c:pt>
                <c:pt idx="4496">
                  <c:v>6651.27</c:v>
                </c:pt>
                <c:pt idx="4497">
                  <c:v>6649.49</c:v>
                </c:pt>
                <c:pt idx="4498">
                  <c:v>6647.3460000000014</c:v>
                </c:pt>
                <c:pt idx="4499">
                  <c:v>6644.8220000000056</c:v>
                </c:pt>
                <c:pt idx="4500">
                  <c:v>6643.2829999999994</c:v>
                </c:pt>
                <c:pt idx="4501">
                  <c:v>6638.405999999999</c:v>
                </c:pt>
                <c:pt idx="4502">
                  <c:v>6636.9599999999991</c:v>
                </c:pt>
                <c:pt idx="4503">
                  <c:v>6635.8060000000014</c:v>
                </c:pt>
                <c:pt idx="4504">
                  <c:v>6635.4939999999997</c:v>
                </c:pt>
                <c:pt idx="4505">
                  <c:v>6630.4660000000003</c:v>
                </c:pt>
                <c:pt idx="4506">
                  <c:v>6628.7930000000006</c:v>
                </c:pt>
                <c:pt idx="4507">
                  <c:v>6625.8250000000044</c:v>
                </c:pt>
                <c:pt idx="4508">
                  <c:v>6624.0960000000014</c:v>
                </c:pt>
                <c:pt idx="4509">
                  <c:v>6622.023000000001</c:v>
                </c:pt>
                <c:pt idx="4510">
                  <c:v>6618.4139999999998</c:v>
                </c:pt>
                <c:pt idx="4511">
                  <c:v>6616.0650000000014</c:v>
                </c:pt>
                <c:pt idx="4512">
                  <c:v>6614.8680000000004</c:v>
                </c:pt>
                <c:pt idx="4513">
                  <c:v>6610.701</c:v>
                </c:pt>
                <c:pt idx="4514">
                  <c:v>6608.6280000000024</c:v>
                </c:pt>
                <c:pt idx="4515">
                  <c:v>6607.7809999999999</c:v>
                </c:pt>
                <c:pt idx="4516">
                  <c:v>6606.9749999999985</c:v>
                </c:pt>
                <c:pt idx="4517">
                  <c:v>6603.509</c:v>
                </c:pt>
                <c:pt idx="4518">
                  <c:v>6602.4059999999999</c:v>
                </c:pt>
                <c:pt idx="4519">
                  <c:v>6602.2210000000014</c:v>
                </c:pt>
                <c:pt idx="4520">
                  <c:v>6601.0579999999991</c:v>
                </c:pt>
                <c:pt idx="4521">
                  <c:v>6595.9859999999999</c:v>
                </c:pt>
                <c:pt idx="4522">
                  <c:v>6594.4980000000005</c:v>
                </c:pt>
                <c:pt idx="4523">
                  <c:v>6593.5440000000008</c:v>
                </c:pt>
                <c:pt idx="4524">
                  <c:v>6593.1550000000034</c:v>
                </c:pt>
                <c:pt idx="4525">
                  <c:v>6592.9120000000003</c:v>
                </c:pt>
                <c:pt idx="4526">
                  <c:v>6592.5730000000003</c:v>
                </c:pt>
                <c:pt idx="4527">
                  <c:v>6588.4560000000001</c:v>
                </c:pt>
                <c:pt idx="4528">
                  <c:v>6587.972999999999</c:v>
                </c:pt>
                <c:pt idx="4529">
                  <c:v>6587.058</c:v>
                </c:pt>
                <c:pt idx="4530">
                  <c:v>6587.02</c:v>
                </c:pt>
                <c:pt idx="4531">
                  <c:v>6577.9699999999993</c:v>
                </c:pt>
                <c:pt idx="4532">
                  <c:v>6577.1520000000055</c:v>
                </c:pt>
                <c:pt idx="4533">
                  <c:v>6573.6820000000034</c:v>
                </c:pt>
                <c:pt idx="4534">
                  <c:v>6573.3070000000016</c:v>
                </c:pt>
                <c:pt idx="4535">
                  <c:v>6573.3010000000004</c:v>
                </c:pt>
                <c:pt idx="4536">
                  <c:v>6572.3970000000008</c:v>
                </c:pt>
                <c:pt idx="4537">
                  <c:v>6569.3820000000014</c:v>
                </c:pt>
                <c:pt idx="4538">
                  <c:v>6568.8240000000014</c:v>
                </c:pt>
                <c:pt idx="4539">
                  <c:v>6566.3560000000034</c:v>
                </c:pt>
                <c:pt idx="4540">
                  <c:v>6563.9180000000006</c:v>
                </c:pt>
                <c:pt idx="4541">
                  <c:v>6560.893</c:v>
                </c:pt>
                <c:pt idx="4542">
                  <c:v>6560.5050000000001</c:v>
                </c:pt>
                <c:pt idx="4543">
                  <c:v>6559.0970000000007</c:v>
                </c:pt>
                <c:pt idx="4544">
                  <c:v>6556.3539999999994</c:v>
                </c:pt>
                <c:pt idx="4545">
                  <c:v>6554.0890000000009</c:v>
                </c:pt>
                <c:pt idx="4546">
                  <c:v>6551.6900000000014</c:v>
                </c:pt>
                <c:pt idx="4547">
                  <c:v>6550.9249999999993</c:v>
                </c:pt>
                <c:pt idx="4548">
                  <c:v>6549.344000000001</c:v>
                </c:pt>
                <c:pt idx="4549">
                  <c:v>6548.9409999999998</c:v>
                </c:pt>
                <c:pt idx="4550">
                  <c:v>6542.4110000000001</c:v>
                </c:pt>
                <c:pt idx="4551">
                  <c:v>6541.1180000000004</c:v>
                </c:pt>
                <c:pt idx="4552">
                  <c:v>6540.89</c:v>
                </c:pt>
                <c:pt idx="4553">
                  <c:v>6540.81</c:v>
                </c:pt>
                <c:pt idx="4554">
                  <c:v>6537.9550000000008</c:v>
                </c:pt>
                <c:pt idx="4555">
                  <c:v>6536.7490000000007</c:v>
                </c:pt>
                <c:pt idx="4556">
                  <c:v>6535.098</c:v>
                </c:pt>
                <c:pt idx="4557">
                  <c:v>6533.2060000000001</c:v>
                </c:pt>
                <c:pt idx="4558">
                  <c:v>6532.174</c:v>
                </c:pt>
                <c:pt idx="4559">
                  <c:v>6529.3160000000034</c:v>
                </c:pt>
                <c:pt idx="4560">
                  <c:v>6527.3390000000009</c:v>
                </c:pt>
                <c:pt idx="4561">
                  <c:v>6525.3740000000007</c:v>
                </c:pt>
                <c:pt idx="4562">
                  <c:v>6523.7070000000003</c:v>
                </c:pt>
                <c:pt idx="4563">
                  <c:v>6520.857</c:v>
                </c:pt>
                <c:pt idx="4564">
                  <c:v>6520.3430000000008</c:v>
                </c:pt>
                <c:pt idx="4565">
                  <c:v>6517.7490000000007</c:v>
                </c:pt>
                <c:pt idx="4566">
                  <c:v>6515.0640000000003</c:v>
                </c:pt>
                <c:pt idx="4567">
                  <c:v>6512.0370000000003</c:v>
                </c:pt>
                <c:pt idx="4568">
                  <c:v>6510.6130000000012</c:v>
                </c:pt>
                <c:pt idx="4569">
                  <c:v>6508.1039999999994</c:v>
                </c:pt>
                <c:pt idx="4570">
                  <c:v>6507.5510000000013</c:v>
                </c:pt>
                <c:pt idx="4571">
                  <c:v>6503.5080000000007</c:v>
                </c:pt>
                <c:pt idx="4572">
                  <c:v>6502.6980000000003</c:v>
                </c:pt>
                <c:pt idx="4573">
                  <c:v>6501.5420000000004</c:v>
                </c:pt>
                <c:pt idx="4574">
                  <c:v>6501.3439999999991</c:v>
                </c:pt>
                <c:pt idx="4575">
                  <c:v>6498.8250000000044</c:v>
                </c:pt>
                <c:pt idx="4576">
                  <c:v>6494.9499999999989</c:v>
                </c:pt>
                <c:pt idx="4577">
                  <c:v>6493.6690000000044</c:v>
                </c:pt>
                <c:pt idx="4578">
                  <c:v>6492.1310000000003</c:v>
                </c:pt>
                <c:pt idx="4579">
                  <c:v>6491.6440000000002</c:v>
                </c:pt>
                <c:pt idx="4580">
                  <c:v>6489.1250000000055</c:v>
                </c:pt>
                <c:pt idx="4581">
                  <c:v>6488.924</c:v>
                </c:pt>
                <c:pt idx="4582">
                  <c:v>6487.0210000000034</c:v>
                </c:pt>
                <c:pt idx="4583">
                  <c:v>6485.6630000000014</c:v>
                </c:pt>
                <c:pt idx="4584">
                  <c:v>6485.6309999999994</c:v>
                </c:pt>
                <c:pt idx="4585">
                  <c:v>6484.3980000000001</c:v>
                </c:pt>
                <c:pt idx="4586">
                  <c:v>6483.7530000000015</c:v>
                </c:pt>
                <c:pt idx="4587">
                  <c:v>6479.8740000000007</c:v>
                </c:pt>
                <c:pt idx="4588">
                  <c:v>6479.2469999999994</c:v>
                </c:pt>
                <c:pt idx="4589">
                  <c:v>6475.8989999999994</c:v>
                </c:pt>
                <c:pt idx="4590">
                  <c:v>6473.4230000000007</c:v>
                </c:pt>
                <c:pt idx="4591">
                  <c:v>6468.3410000000003</c:v>
                </c:pt>
                <c:pt idx="4592">
                  <c:v>6468.241</c:v>
                </c:pt>
                <c:pt idx="4593">
                  <c:v>6465.527</c:v>
                </c:pt>
                <c:pt idx="4594">
                  <c:v>6460.0550000000003</c:v>
                </c:pt>
                <c:pt idx="4595">
                  <c:v>6458.63</c:v>
                </c:pt>
                <c:pt idx="4596">
                  <c:v>6456.1050000000014</c:v>
                </c:pt>
                <c:pt idx="4597">
                  <c:v>6455.8002780000024</c:v>
                </c:pt>
                <c:pt idx="4598">
                  <c:v>6455.6100000000024</c:v>
                </c:pt>
                <c:pt idx="4599">
                  <c:v>6453.4389999999985</c:v>
                </c:pt>
                <c:pt idx="4600">
                  <c:v>6452.9479999999985</c:v>
                </c:pt>
                <c:pt idx="4601">
                  <c:v>6452.1510000000044</c:v>
                </c:pt>
                <c:pt idx="4602">
                  <c:v>6448.0340000000006</c:v>
                </c:pt>
                <c:pt idx="4603">
                  <c:v>6446.3740000000007</c:v>
                </c:pt>
                <c:pt idx="4604">
                  <c:v>6446.1670000000022</c:v>
                </c:pt>
                <c:pt idx="4605">
                  <c:v>6440.7940000000008</c:v>
                </c:pt>
                <c:pt idx="4606">
                  <c:v>6440.7020000000002</c:v>
                </c:pt>
                <c:pt idx="4607">
                  <c:v>6434.9560000000001</c:v>
                </c:pt>
                <c:pt idx="4608">
                  <c:v>6431.951</c:v>
                </c:pt>
                <c:pt idx="4609">
                  <c:v>6430.942</c:v>
                </c:pt>
                <c:pt idx="4610">
                  <c:v>6430.7510000000002</c:v>
                </c:pt>
                <c:pt idx="4611">
                  <c:v>6428.8560000000034</c:v>
                </c:pt>
                <c:pt idx="4612">
                  <c:v>6427.5920000000024</c:v>
                </c:pt>
                <c:pt idx="4613">
                  <c:v>6422.2999999999993</c:v>
                </c:pt>
                <c:pt idx="4614">
                  <c:v>6421.0520000000024</c:v>
                </c:pt>
                <c:pt idx="4615">
                  <c:v>6420.7789999999995</c:v>
                </c:pt>
                <c:pt idx="4616">
                  <c:v>6417.6610000000055</c:v>
                </c:pt>
                <c:pt idx="4617">
                  <c:v>6412.0450000000001</c:v>
                </c:pt>
                <c:pt idx="4618">
                  <c:v>6411.4890000000005</c:v>
                </c:pt>
                <c:pt idx="4619">
                  <c:v>6409.7029999999995</c:v>
                </c:pt>
                <c:pt idx="4620">
                  <c:v>6406.8020000000024</c:v>
                </c:pt>
                <c:pt idx="4621">
                  <c:v>6406.5360000000001</c:v>
                </c:pt>
                <c:pt idx="4622">
                  <c:v>6404.299</c:v>
                </c:pt>
                <c:pt idx="4623">
                  <c:v>6401.5779999999995</c:v>
                </c:pt>
                <c:pt idx="4624">
                  <c:v>6397.2440000000006</c:v>
                </c:pt>
                <c:pt idx="4625">
                  <c:v>6396.7620000000024</c:v>
                </c:pt>
                <c:pt idx="4626">
                  <c:v>6395.0840000000007</c:v>
                </c:pt>
                <c:pt idx="4627">
                  <c:v>6394.7840000000015</c:v>
                </c:pt>
                <c:pt idx="4628">
                  <c:v>6394.5370000000003</c:v>
                </c:pt>
                <c:pt idx="4629">
                  <c:v>6393.5530000000008</c:v>
                </c:pt>
                <c:pt idx="4630">
                  <c:v>6391.808</c:v>
                </c:pt>
                <c:pt idx="4631">
                  <c:v>6390.6910000000034</c:v>
                </c:pt>
                <c:pt idx="4632">
                  <c:v>6388.3340000000007</c:v>
                </c:pt>
                <c:pt idx="4633">
                  <c:v>6388.3120000000044</c:v>
                </c:pt>
                <c:pt idx="4634">
                  <c:v>6387.2270000000017</c:v>
                </c:pt>
                <c:pt idx="4635">
                  <c:v>6382.1540000000014</c:v>
                </c:pt>
                <c:pt idx="4636">
                  <c:v>6380.9190000000008</c:v>
                </c:pt>
                <c:pt idx="4637">
                  <c:v>6377.91</c:v>
                </c:pt>
                <c:pt idx="4638">
                  <c:v>6370.6540000000014</c:v>
                </c:pt>
                <c:pt idx="4639">
                  <c:v>6365.7060000000001</c:v>
                </c:pt>
                <c:pt idx="4640">
                  <c:v>6365.0399999999991</c:v>
                </c:pt>
                <c:pt idx="4641">
                  <c:v>6360.7379999999994</c:v>
                </c:pt>
                <c:pt idx="4642">
                  <c:v>6359.3850000000002</c:v>
                </c:pt>
                <c:pt idx="4643">
                  <c:v>6358.2220000000034</c:v>
                </c:pt>
                <c:pt idx="4644">
                  <c:v>6355.5510000000004</c:v>
                </c:pt>
                <c:pt idx="4645">
                  <c:v>6354.6320000000014</c:v>
                </c:pt>
                <c:pt idx="4646">
                  <c:v>6350.3690000000024</c:v>
                </c:pt>
                <c:pt idx="4647">
                  <c:v>6347.55</c:v>
                </c:pt>
                <c:pt idx="4648">
                  <c:v>6345.2879999999996</c:v>
                </c:pt>
                <c:pt idx="4649">
                  <c:v>6343.5110000000004</c:v>
                </c:pt>
                <c:pt idx="4650">
                  <c:v>6339.2779999999975</c:v>
                </c:pt>
                <c:pt idx="4651">
                  <c:v>6338.5880000000006</c:v>
                </c:pt>
                <c:pt idx="4652">
                  <c:v>6338.1890000000003</c:v>
                </c:pt>
                <c:pt idx="4653">
                  <c:v>6336.2729999999992</c:v>
                </c:pt>
                <c:pt idx="4654">
                  <c:v>6336.2460000000001</c:v>
                </c:pt>
                <c:pt idx="4655">
                  <c:v>6334.9859999999999</c:v>
                </c:pt>
                <c:pt idx="4656">
                  <c:v>6333.5070000000005</c:v>
                </c:pt>
                <c:pt idx="4657">
                  <c:v>6327.6670000000022</c:v>
                </c:pt>
                <c:pt idx="4658">
                  <c:v>6327.1890000000003</c:v>
                </c:pt>
                <c:pt idx="4659">
                  <c:v>6327.0590000000002</c:v>
                </c:pt>
                <c:pt idx="4660">
                  <c:v>6319.2630000000017</c:v>
                </c:pt>
                <c:pt idx="4661">
                  <c:v>6318.5480000000007</c:v>
                </c:pt>
                <c:pt idx="4662">
                  <c:v>6316.6620000000057</c:v>
                </c:pt>
                <c:pt idx="4663">
                  <c:v>6315.4309999999996</c:v>
                </c:pt>
                <c:pt idx="4664">
                  <c:v>6314.7160000000003</c:v>
                </c:pt>
                <c:pt idx="4665">
                  <c:v>6306.0340000000006</c:v>
                </c:pt>
                <c:pt idx="4666">
                  <c:v>6305.96</c:v>
                </c:pt>
                <c:pt idx="4667">
                  <c:v>6302.2750000000005</c:v>
                </c:pt>
                <c:pt idx="4668">
                  <c:v>6298.7650000000012</c:v>
                </c:pt>
                <c:pt idx="4669">
                  <c:v>6297.5110000000004</c:v>
                </c:pt>
                <c:pt idx="4670">
                  <c:v>6296.4869999999992</c:v>
                </c:pt>
                <c:pt idx="4671">
                  <c:v>6295.4839999999995</c:v>
                </c:pt>
                <c:pt idx="4672">
                  <c:v>6286.8660000000054</c:v>
                </c:pt>
                <c:pt idx="4673">
                  <c:v>6286.0320000000002</c:v>
                </c:pt>
                <c:pt idx="4674">
                  <c:v>6284.9589999999989</c:v>
                </c:pt>
                <c:pt idx="4675">
                  <c:v>6282.2910000000002</c:v>
                </c:pt>
                <c:pt idx="4676">
                  <c:v>6280.9230000000007</c:v>
                </c:pt>
                <c:pt idx="4677">
                  <c:v>6276.4749999999995</c:v>
                </c:pt>
                <c:pt idx="4678">
                  <c:v>6270.9470000000001</c:v>
                </c:pt>
                <c:pt idx="4679">
                  <c:v>6266.7820000000002</c:v>
                </c:pt>
                <c:pt idx="4680">
                  <c:v>6263.4589999999998</c:v>
                </c:pt>
                <c:pt idx="4681">
                  <c:v>6262.223</c:v>
                </c:pt>
                <c:pt idx="4682">
                  <c:v>6261.6420000000044</c:v>
                </c:pt>
                <c:pt idx="4683">
                  <c:v>6259.6290000000054</c:v>
                </c:pt>
                <c:pt idx="4684">
                  <c:v>6258.6690000000044</c:v>
                </c:pt>
                <c:pt idx="4685">
                  <c:v>6258.0370000000003</c:v>
                </c:pt>
                <c:pt idx="4686">
                  <c:v>6255.3360000000002</c:v>
                </c:pt>
                <c:pt idx="4687">
                  <c:v>6253.8990000000003</c:v>
                </c:pt>
                <c:pt idx="4688">
                  <c:v>6252.9419999999991</c:v>
                </c:pt>
                <c:pt idx="4689">
                  <c:v>6249.5579999999991</c:v>
                </c:pt>
                <c:pt idx="4690">
                  <c:v>6248.39</c:v>
                </c:pt>
                <c:pt idx="4691">
                  <c:v>6247.6366660000058</c:v>
                </c:pt>
                <c:pt idx="4692">
                  <c:v>6246.68</c:v>
                </c:pt>
                <c:pt idx="4693">
                  <c:v>6240.9820000000009</c:v>
                </c:pt>
                <c:pt idx="4694">
                  <c:v>6240.5160000000014</c:v>
                </c:pt>
                <c:pt idx="4695">
                  <c:v>6238.2179999999998</c:v>
                </c:pt>
                <c:pt idx="4696">
                  <c:v>6234.1760000000004</c:v>
                </c:pt>
                <c:pt idx="4697">
                  <c:v>6232.9500000000007</c:v>
                </c:pt>
                <c:pt idx="4698">
                  <c:v>6232.1710000000003</c:v>
                </c:pt>
                <c:pt idx="4699">
                  <c:v>6228.9859999999999</c:v>
                </c:pt>
                <c:pt idx="4700">
                  <c:v>6228.567</c:v>
                </c:pt>
                <c:pt idx="4701">
                  <c:v>6224.4520000000002</c:v>
                </c:pt>
                <c:pt idx="4702">
                  <c:v>6222.6680000000024</c:v>
                </c:pt>
                <c:pt idx="4703">
                  <c:v>6217.268</c:v>
                </c:pt>
                <c:pt idx="4704">
                  <c:v>6216.4160000000002</c:v>
                </c:pt>
                <c:pt idx="4705">
                  <c:v>6214.7860000000001</c:v>
                </c:pt>
                <c:pt idx="4706">
                  <c:v>6214.7850000000008</c:v>
                </c:pt>
                <c:pt idx="4707">
                  <c:v>6214.4920000000002</c:v>
                </c:pt>
                <c:pt idx="4708">
                  <c:v>6212.9640000000009</c:v>
                </c:pt>
                <c:pt idx="4709">
                  <c:v>6212.0780000000004</c:v>
                </c:pt>
                <c:pt idx="4710">
                  <c:v>6201.4609999999993</c:v>
                </c:pt>
                <c:pt idx="4711">
                  <c:v>6201.0520000000024</c:v>
                </c:pt>
                <c:pt idx="4712">
                  <c:v>6200.8770000000013</c:v>
                </c:pt>
                <c:pt idx="4713">
                  <c:v>6198.1020000000044</c:v>
                </c:pt>
                <c:pt idx="4714">
                  <c:v>6197.2400000000007</c:v>
                </c:pt>
                <c:pt idx="4715">
                  <c:v>6196.9550000000008</c:v>
                </c:pt>
                <c:pt idx="4716">
                  <c:v>6195.5470000000005</c:v>
                </c:pt>
                <c:pt idx="4717">
                  <c:v>6194.4130000000005</c:v>
                </c:pt>
                <c:pt idx="4718">
                  <c:v>6194.1690000000044</c:v>
                </c:pt>
                <c:pt idx="4719">
                  <c:v>6193.2120000000004</c:v>
                </c:pt>
                <c:pt idx="4720">
                  <c:v>6192.7</c:v>
                </c:pt>
                <c:pt idx="4721">
                  <c:v>6191.4710000000005</c:v>
                </c:pt>
                <c:pt idx="4722">
                  <c:v>6191.3650000000034</c:v>
                </c:pt>
                <c:pt idx="4723">
                  <c:v>6191.335</c:v>
                </c:pt>
                <c:pt idx="4724">
                  <c:v>6190.8950000000004</c:v>
                </c:pt>
                <c:pt idx="4725">
                  <c:v>6189.2080000000005</c:v>
                </c:pt>
                <c:pt idx="4726">
                  <c:v>6188.9310000000005</c:v>
                </c:pt>
                <c:pt idx="4727">
                  <c:v>6188.6710000000003</c:v>
                </c:pt>
                <c:pt idx="4728">
                  <c:v>6188.2160000000003</c:v>
                </c:pt>
                <c:pt idx="4729">
                  <c:v>6187.3210000000054</c:v>
                </c:pt>
                <c:pt idx="4730">
                  <c:v>6186.2530000000015</c:v>
                </c:pt>
                <c:pt idx="4731">
                  <c:v>6184.0020000000013</c:v>
                </c:pt>
                <c:pt idx="4732">
                  <c:v>6181.6050000000014</c:v>
                </c:pt>
                <c:pt idx="4733">
                  <c:v>6181.2930000000006</c:v>
                </c:pt>
                <c:pt idx="4734">
                  <c:v>6180.027000000001</c:v>
                </c:pt>
                <c:pt idx="4735">
                  <c:v>6176.482</c:v>
                </c:pt>
                <c:pt idx="4736">
                  <c:v>6175.7180000000008</c:v>
                </c:pt>
                <c:pt idx="4737">
                  <c:v>6175.0200000000013</c:v>
                </c:pt>
                <c:pt idx="4738">
                  <c:v>6168.2699999999995</c:v>
                </c:pt>
                <c:pt idx="4739">
                  <c:v>6167.3490000000002</c:v>
                </c:pt>
                <c:pt idx="4740">
                  <c:v>6165.6760000000004</c:v>
                </c:pt>
                <c:pt idx="4741">
                  <c:v>6160.8290000000034</c:v>
                </c:pt>
                <c:pt idx="4742">
                  <c:v>6153.7330000000002</c:v>
                </c:pt>
                <c:pt idx="4743">
                  <c:v>6149.7199999999993</c:v>
                </c:pt>
                <c:pt idx="4744">
                  <c:v>6146.8090000000002</c:v>
                </c:pt>
                <c:pt idx="4745">
                  <c:v>6146.4960000000001</c:v>
                </c:pt>
                <c:pt idx="4746">
                  <c:v>6145.7580000000007</c:v>
                </c:pt>
                <c:pt idx="4747">
                  <c:v>6145.4429999999993</c:v>
                </c:pt>
                <c:pt idx="4748">
                  <c:v>6144.5430000000006</c:v>
                </c:pt>
                <c:pt idx="4749">
                  <c:v>6142.5759999999991</c:v>
                </c:pt>
                <c:pt idx="4750">
                  <c:v>6142.0840000000007</c:v>
                </c:pt>
                <c:pt idx="4751">
                  <c:v>6141.4940000000006</c:v>
                </c:pt>
                <c:pt idx="4752">
                  <c:v>6140.3060000000014</c:v>
                </c:pt>
                <c:pt idx="4753">
                  <c:v>6136.1220000000058</c:v>
                </c:pt>
                <c:pt idx="4754">
                  <c:v>6135.9579999999996</c:v>
                </c:pt>
                <c:pt idx="4755">
                  <c:v>6135.9250000000002</c:v>
                </c:pt>
                <c:pt idx="4756">
                  <c:v>6132.4969999999994</c:v>
                </c:pt>
                <c:pt idx="4757">
                  <c:v>6130.6020000000044</c:v>
                </c:pt>
                <c:pt idx="4758">
                  <c:v>6129.8490000000002</c:v>
                </c:pt>
                <c:pt idx="4759">
                  <c:v>6127.951</c:v>
                </c:pt>
                <c:pt idx="4760">
                  <c:v>6127.768</c:v>
                </c:pt>
                <c:pt idx="4761">
                  <c:v>6126.9650000000001</c:v>
                </c:pt>
                <c:pt idx="4762">
                  <c:v>6126.4570000000003</c:v>
                </c:pt>
                <c:pt idx="4763">
                  <c:v>6123.5620000000044</c:v>
                </c:pt>
                <c:pt idx="4764">
                  <c:v>6121.607</c:v>
                </c:pt>
                <c:pt idx="4765">
                  <c:v>6121.2540000000008</c:v>
                </c:pt>
                <c:pt idx="4766">
                  <c:v>6120.8240000000014</c:v>
                </c:pt>
                <c:pt idx="4767">
                  <c:v>6120.0920000000024</c:v>
                </c:pt>
                <c:pt idx="4768">
                  <c:v>6119.8680000000013</c:v>
                </c:pt>
                <c:pt idx="4769">
                  <c:v>6118.7620000000024</c:v>
                </c:pt>
                <c:pt idx="4770">
                  <c:v>6117.76</c:v>
                </c:pt>
                <c:pt idx="4771">
                  <c:v>6117.259</c:v>
                </c:pt>
                <c:pt idx="4772">
                  <c:v>6116.472999999999</c:v>
                </c:pt>
                <c:pt idx="4773">
                  <c:v>6114.808</c:v>
                </c:pt>
                <c:pt idx="4774">
                  <c:v>6111.4869999999992</c:v>
                </c:pt>
                <c:pt idx="4775">
                  <c:v>6111.4839999999995</c:v>
                </c:pt>
                <c:pt idx="4776">
                  <c:v>6111.0560000000014</c:v>
                </c:pt>
                <c:pt idx="4777">
                  <c:v>6110.9689999999991</c:v>
                </c:pt>
                <c:pt idx="4778">
                  <c:v>6110.2060000000001</c:v>
                </c:pt>
                <c:pt idx="4779">
                  <c:v>6107.2820000000002</c:v>
                </c:pt>
                <c:pt idx="4780">
                  <c:v>6106.4720000000007</c:v>
                </c:pt>
                <c:pt idx="4781">
                  <c:v>6105.7809999999999</c:v>
                </c:pt>
                <c:pt idx="4782">
                  <c:v>6101.9959999999992</c:v>
                </c:pt>
                <c:pt idx="4783">
                  <c:v>6099.848</c:v>
                </c:pt>
                <c:pt idx="4784">
                  <c:v>6099.1630000000014</c:v>
                </c:pt>
                <c:pt idx="4785">
                  <c:v>6097.0309999999999</c:v>
                </c:pt>
                <c:pt idx="4786">
                  <c:v>6094.9409999999998</c:v>
                </c:pt>
                <c:pt idx="4787">
                  <c:v>6093.6720000000014</c:v>
                </c:pt>
                <c:pt idx="4788">
                  <c:v>6092.4769999999999</c:v>
                </c:pt>
                <c:pt idx="4789">
                  <c:v>6092.0120000000024</c:v>
                </c:pt>
                <c:pt idx="4790">
                  <c:v>6091.3550000000014</c:v>
                </c:pt>
                <c:pt idx="4791">
                  <c:v>6090.67</c:v>
                </c:pt>
                <c:pt idx="4792">
                  <c:v>6089.6920000000064</c:v>
                </c:pt>
                <c:pt idx="4793">
                  <c:v>6086.6590000000024</c:v>
                </c:pt>
                <c:pt idx="4794">
                  <c:v>6083.8570000000009</c:v>
                </c:pt>
                <c:pt idx="4795">
                  <c:v>6081.8550000000014</c:v>
                </c:pt>
                <c:pt idx="4796">
                  <c:v>6081.06</c:v>
                </c:pt>
                <c:pt idx="4797">
                  <c:v>6080.402</c:v>
                </c:pt>
                <c:pt idx="4798">
                  <c:v>6078.1399999999994</c:v>
                </c:pt>
                <c:pt idx="4799">
                  <c:v>6071.9110000000001</c:v>
                </c:pt>
                <c:pt idx="4800">
                  <c:v>6071.0570000000007</c:v>
                </c:pt>
                <c:pt idx="4801">
                  <c:v>6070.4120000000012</c:v>
                </c:pt>
                <c:pt idx="4802">
                  <c:v>6068.7670000000007</c:v>
                </c:pt>
                <c:pt idx="4803">
                  <c:v>6067.23</c:v>
                </c:pt>
                <c:pt idx="4804">
                  <c:v>6064.2540000000008</c:v>
                </c:pt>
                <c:pt idx="4805">
                  <c:v>6062.0890000000009</c:v>
                </c:pt>
                <c:pt idx="4806">
                  <c:v>6061.6260000000057</c:v>
                </c:pt>
                <c:pt idx="4807">
                  <c:v>6060.3280000000004</c:v>
                </c:pt>
                <c:pt idx="4808">
                  <c:v>6056.3370000000004</c:v>
                </c:pt>
                <c:pt idx="4809">
                  <c:v>6055.8590000000013</c:v>
                </c:pt>
                <c:pt idx="4810">
                  <c:v>6054.0480000000007</c:v>
                </c:pt>
                <c:pt idx="4811">
                  <c:v>6053.9389999999985</c:v>
                </c:pt>
                <c:pt idx="4812">
                  <c:v>6051.5370000000003</c:v>
                </c:pt>
                <c:pt idx="4813">
                  <c:v>6050.0749999999998</c:v>
                </c:pt>
                <c:pt idx="4814">
                  <c:v>6049.0450000000001</c:v>
                </c:pt>
                <c:pt idx="4815">
                  <c:v>6048.067</c:v>
                </c:pt>
                <c:pt idx="4816">
                  <c:v>6047.3799999999992</c:v>
                </c:pt>
                <c:pt idx="4817">
                  <c:v>6046.679000000001</c:v>
                </c:pt>
                <c:pt idx="4818">
                  <c:v>6046.4560000000001</c:v>
                </c:pt>
                <c:pt idx="4819">
                  <c:v>6043.4520000000002</c:v>
                </c:pt>
                <c:pt idx="4820">
                  <c:v>6043.0510000000004</c:v>
                </c:pt>
                <c:pt idx="4821">
                  <c:v>6039.4489999999996</c:v>
                </c:pt>
                <c:pt idx="4822">
                  <c:v>6039.4350000000004</c:v>
                </c:pt>
                <c:pt idx="4823">
                  <c:v>6034.8200000000024</c:v>
                </c:pt>
                <c:pt idx="4824">
                  <c:v>6033.2350000000006</c:v>
                </c:pt>
                <c:pt idx="4825">
                  <c:v>6031.6750000000002</c:v>
                </c:pt>
                <c:pt idx="4826">
                  <c:v>6029.4849999999997</c:v>
                </c:pt>
                <c:pt idx="4827">
                  <c:v>6025.2559999999994</c:v>
                </c:pt>
                <c:pt idx="4828">
                  <c:v>6021.393</c:v>
                </c:pt>
                <c:pt idx="4829">
                  <c:v>6012.5650000000014</c:v>
                </c:pt>
                <c:pt idx="4830">
                  <c:v>6009.2779999999975</c:v>
                </c:pt>
                <c:pt idx="4831">
                  <c:v>6007.3380000000006</c:v>
                </c:pt>
                <c:pt idx="4832">
                  <c:v>6005.6170000000002</c:v>
                </c:pt>
                <c:pt idx="4833">
                  <c:v>6004.8460000000014</c:v>
                </c:pt>
                <c:pt idx="4834">
                  <c:v>6004.2339999999995</c:v>
                </c:pt>
                <c:pt idx="4835">
                  <c:v>6003.268</c:v>
                </c:pt>
                <c:pt idx="4836">
                  <c:v>6002.8330000000005</c:v>
                </c:pt>
                <c:pt idx="4837">
                  <c:v>5999.9490000000005</c:v>
                </c:pt>
                <c:pt idx="4838">
                  <c:v>5998.6579999999994</c:v>
                </c:pt>
                <c:pt idx="4839">
                  <c:v>5995.1690000000044</c:v>
                </c:pt>
                <c:pt idx="4840">
                  <c:v>5993.3030000000008</c:v>
                </c:pt>
                <c:pt idx="4841">
                  <c:v>5992.2020000000002</c:v>
                </c:pt>
                <c:pt idx="4842">
                  <c:v>5990.51</c:v>
                </c:pt>
                <c:pt idx="4843">
                  <c:v>5989.8190000000004</c:v>
                </c:pt>
                <c:pt idx="4844">
                  <c:v>5988.4369999999999</c:v>
                </c:pt>
                <c:pt idx="4845">
                  <c:v>5984.6900000000014</c:v>
                </c:pt>
                <c:pt idx="4846">
                  <c:v>5983.2379999999994</c:v>
                </c:pt>
                <c:pt idx="4847">
                  <c:v>5982.898000000001</c:v>
                </c:pt>
                <c:pt idx="4848">
                  <c:v>5981.4260000000004</c:v>
                </c:pt>
                <c:pt idx="4849">
                  <c:v>5979.3080000000009</c:v>
                </c:pt>
                <c:pt idx="4850">
                  <c:v>5978.7660000000014</c:v>
                </c:pt>
                <c:pt idx="4851">
                  <c:v>5976.5309999999999</c:v>
                </c:pt>
                <c:pt idx="4852">
                  <c:v>5976.0560000000014</c:v>
                </c:pt>
                <c:pt idx="4853">
                  <c:v>5975.5839999999998</c:v>
                </c:pt>
                <c:pt idx="4854">
                  <c:v>5975.45</c:v>
                </c:pt>
                <c:pt idx="4855">
                  <c:v>5975.0170000000007</c:v>
                </c:pt>
                <c:pt idx="4856">
                  <c:v>5973.5820000000003</c:v>
                </c:pt>
                <c:pt idx="4857">
                  <c:v>5967.6920000000055</c:v>
                </c:pt>
                <c:pt idx="4858">
                  <c:v>5965.0560000000014</c:v>
                </c:pt>
                <c:pt idx="4859">
                  <c:v>5964.6010000000024</c:v>
                </c:pt>
                <c:pt idx="4860">
                  <c:v>5963.7850000000008</c:v>
                </c:pt>
                <c:pt idx="4861">
                  <c:v>5961.99</c:v>
                </c:pt>
                <c:pt idx="4862">
                  <c:v>5961.2910000000002</c:v>
                </c:pt>
                <c:pt idx="4863">
                  <c:v>5955.5110000000004</c:v>
                </c:pt>
                <c:pt idx="4864">
                  <c:v>5955.4110000000001</c:v>
                </c:pt>
                <c:pt idx="4865">
                  <c:v>5955.0220000000054</c:v>
                </c:pt>
                <c:pt idx="4866">
                  <c:v>5951.6250000000055</c:v>
                </c:pt>
                <c:pt idx="4867">
                  <c:v>5946.4550000000008</c:v>
                </c:pt>
                <c:pt idx="4868">
                  <c:v>5945.3150000000014</c:v>
                </c:pt>
                <c:pt idx="4869">
                  <c:v>5941.2179999999998</c:v>
                </c:pt>
                <c:pt idx="4870">
                  <c:v>5939.8830000000007</c:v>
                </c:pt>
                <c:pt idx="4871">
                  <c:v>5938.4180000000006</c:v>
                </c:pt>
                <c:pt idx="4872">
                  <c:v>5937.7060000000001</c:v>
                </c:pt>
                <c:pt idx="4873">
                  <c:v>5937.2840000000006</c:v>
                </c:pt>
                <c:pt idx="4874">
                  <c:v>5935.2719999999999</c:v>
                </c:pt>
                <c:pt idx="4875">
                  <c:v>5934.7069999999994</c:v>
                </c:pt>
                <c:pt idx="4876">
                  <c:v>5933.5949999999993</c:v>
                </c:pt>
                <c:pt idx="4877">
                  <c:v>5933.4409999999998</c:v>
                </c:pt>
                <c:pt idx="4878">
                  <c:v>5929.6560000000054</c:v>
                </c:pt>
                <c:pt idx="4879">
                  <c:v>5929.4140000000007</c:v>
                </c:pt>
                <c:pt idx="4880">
                  <c:v>5928.9830000000002</c:v>
                </c:pt>
                <c:pt idx="4881">
                  <c:v>5925.0110000000013</c:v>
                </c:pt>
                <c:pt idx="4882">
                  <c:v>5924.8860000000004</c:v>
                </c:pt>
                <c:pt idx="4883">
                  <c:v>5924.4130000000005</c:v>
                </c:pt>
                <c:pt idx="4884">
                  <c:v>5924.1370000000006</c:v>
                </c:pt>
                <c:pt idx="4885">
                  <c:v>5921.0030000000015</c:v>
                </c:pt>
                <c:pt idx="4886">
                  <c:v>5920.95</c:v>
                </c:pt>
                <c:pt idx="4887">
                  <c:v>5916.3760000000002</c:v>
                </c:pt>
                <c:pt idx="4888">
                  <c:v>5915.4630000000006</c:v>
                </c:pt>
                <c:pt idx="4889">
                  <c:v>5913.5590000000002</c:v>
                </c:pt>
                <c:pt idx="4890">
                  <c:v>5913.5420000000004</c:v>
                </c:pt>
                <c:pt idx="4891">
                  <c:v>5911.9169999999995</c:v>
                </c:pt>
                <c:pt idx="4892">
                  <c:v>5906.7699999999995</c:v>
                </c:pt>
                <c:pt idx="4893">
                  <c:v>5902.7870000000003</c:v>
                </c:pt>
                <c:pt idx="4894">
                  <c:v>5901.6670000000022</c:v>
                </c:pt>
                <c:pt idx="4895">
                  <c:v>5901.5080000000007</c:v>
                </c:pt>
                <c:pt idx="4896">
                  <c:v>5900.6250000000055</c:v>
                </c:pt>
                <c:pt idx="4897">
                  <c:v>5900.2310000000007</c:v>
                </c:pt>
                <c:pt idx="4898">
                  <c:v>5899.3660000000045</c:v>
                </c:pt>
                <c:pt idx="4899">
                  <c:v>5898.3450000000003</c:v>
                </c:pt>
                <c:pt idx="4900">
                  <c:v>5897.7570000000005</c:v>
                </c:pt>
                <c:pt idx="4901">
                  <c:v>5896.3050000000003</c:v>
                </c:pt>
                <c:pt idx="4902">
                  <c:v>5894.2979999999998</c:v>
                </c:pt>
                <c:pt idx="4903">
                  <c:v>5893.2270000000008</c:v>
                </c:pt>
                <c:pt idx="4904">
                  <c:v>5892.2649999999994</c:v>
                </c:pt>
                <c:pt idx="4905">
                  <c:v>5888.4959999999992</c:v>
                </c:pt>
                <c:pt idx="4906">
                  <c:v>5887.768</c:v>
                </c:pt>
                <c:pt idx="4907">
                  <c:v>5884.2639999999992</c:v>
                </c:pt>
                <c:pt idx="4908">
                  <c:v>5882.179000000001</c:v>
                </c:pt>
                <c:pt idx="4909">
                  <c:v>5881.1510000000044</c:v>
                </c:pt>
                <c:pt idx="4910">
                  <c:v>5880.4890000000005</c:v>
                </c:pt>
                <c:pt idx="4911">
                  <c:v>5880.3120000000044</c:v>
                </c:pt>
                <c:pt idx="4912">
                  <c:v>5875.1240000000034</c:v>
                </c:pt>
                <c:pt idx="4913">
                  <c:v>5875.0910000000003</c:v>
                </c:pt>
                <c:pt idx="4914">
                  <c:v>5872.4759999999997</c:v>
                </c:pt>
                <c:pt idx="4915">
                  <c:v>5870.1100000000024</c:v>
                </c:pt>
                <c:pt idx="4916">
                  <c:v>5869.8520000000044</c:v>
                </c:pt>
                <c:pt idx="4917">
                  <c:v>5869.0300000000007</c:v>
                </c:pt>
                <c:pt idx="4918">
                  <c:v>5864.5510000000004</c:v>
                </c:pt>
                <c:pt idx="4919">
                  <c:v>5863.0960000000014</c:v>
                </c:pt>
                <c:pt idx="4920">
                  <c:v>5861.8410000000003</c:v>
                </c:pt>
                <c:pt idx="4921">
                  <c:v>5860.71</c:v>
                </c:pt>
                <c:pt idx="4922">
                  <c:v>5859.9210000000003</c:v>
                </c:pt>
                <c:pt idx="4923">
                  <c:v>5858.7390000000005</c:v>
                </c:pt>
                <c:pt idx="4924">
                  <c:v>5858.2015560000009</c:v>
                </c:pt>
                <c:pt idx="4925">
                  <c:v>5855.7920000000004</c:v>
                </c:pt>
                <c:pt idx="4926">
                  <c:v>5853.4990000000007</c:v>
                </c:pt>
                <c:pt idx="4927">
                  <c:v>5853.0210000000034</c:v>
                </c:pt>
                <c:pt idx="4928">
                  <c:v>5850.7979999999998</c:v>
                </c:pt>
                <c:pt idx="4929">
                  <c:v>5850.6060000000034</c:v>
                </c:pt>
                <c:pt idx="4930">
                  <c:v>5848.3360000000002</c:v>
                </c:pt>
                <c:pt idx="4931">
                  <c:v>5847.1820000000034</c:v>
                </c:pt>
                <c:pt idx="4932">
                  <c:v>5846.6570000000002</c:v>
                </c:pt>
                <c:pt idx="4933">
                  <c:v>5846.5329999999994</c:v>
                </c:pt>
                <c:pt idx="4934">
                  <c:v>5845.3460000000014</c:v>
                </c:pt>
                <c:pt idx="4935">
                  <c:v>5844.2910000000002</c:v>
                </c:pt>
                <c:pt idx="4936">
                  <c:v>5842.3920000000044</c:v>
                </c:pt>
                <c:pt idx="4937">
                  <c:v>5842.1600000000044</c:v>
                </c:pt>
                <c:pt idx="4938">
                  <c:v>5832.5450000000001</c:v>
                </c:pt>
                <c:pt idx="4939">
                  <c:v>5832.1790000000001</c:v>
                </c:pt>
                <c:pt idx="4940">
                  <c:v>5830.9079999999994</c:v>
                </c:pt>
                <c:pt idx="4941">
                  <c:v>5829.1290000000054</c:v>
                </c:pt>
                <c:pt idx="4942">
                  <c:v>5828.2030000000004</c:v>
                </c:pt>
                <c:pt idx="4943">
                  <c:v>5827.4579999999996</c:v>
                </c:pt>
                <c:pt idx="4944">
                  <c:v>5825.9690000000001</c:v>
                </c:pt>
                <c:pt idx="4945">
                  <c:v>5825.7739999999994</c:v>
                </c:pt>
                <c:pt idx="4946">
                  <c:v>5824.567</c:v>
                </c:pt>
                <c:pt idx="4947">
                  <c:v>5823.6600000000044</c:v>
                </c:pt>
                <c:pt idx="4948">
                  <c:v>5823.5430000000006</c:v>
                </c:pt>
                <c:pt idx="4949">
                  <c:v>5822.6470000000018</c:v>
                </c:pt>
                <c:pt idx="4950">
                  <c:v>5822.4250000000002</c:v>
                </c:pt>
                <c:pt idx="4951">
                  <c:v>5821.7140000000009</c:v>
                </c:pt>
                <c:pt idx="4952">
                  <c:v>5820.3310000000001</c:v>
                </c:pt>
                <c:pt idx="4953">
                  <c:v>5818.4950000000008</c:v>
                </c:pt>
                <c:pt idx="4954">
                  <c:v>5818.3870000000015</c:v>
                </c:pt>
                <c:pt idx="4955">
                  <c:v>5817.8500000000013</c:v>
                </c:pt>
                <c:pt idx="4956">
                  <c:v>5815.607</c:v>
                </c:pt>
                <c:pt idx="4957">
                  <c:v>5814.7379999999994</c:v>
                </c:pt>
                <c:pt idx="4958">
                  <c:v>5813.5650000000014</c:v>
                </c:pt>
                <c:pt idx="4959">
                  <c:v>5813.1960000000054</c:v>
                </c:pt>
                <c:pt idx="4960">
                  <c:v>5810.07</c:v>
                </c:pt>
                <c:pt idx="4961">
                  <c:v>5809.8250000000044</c:v>
                </c:pt>
                <c:pt idx="4962">
                  <c:v>5807.5430000000006</c:v>
                </c:pt>
                <c:pt idx="4963">
                  <c:v>5805.7050000000008</c:v>
                </c:pt>
                <c:pt idx="4964">
                  <c:v>5805.38</c:v>
                </c:pt>
                <c:pt idx="4965">
                  <c:v>5804.7750000000005</c:v>
                </c:pt>
                <c:pt idx="4966">
                  <c:v>5804.5560000000014</c:v>
                </c:pt>
                <c:pt idx="4967">
                  <c:v>5804.3560000000034</c:v>
                </c:pt>
                <c:pt idx="4968">
                  <c:v>5803.5490000000009</c:v>
                </c:pt>
                <c:pt idx="4969">
                  <c:v>5802.8040000000001</c:v>
                </c:pt>
                <c:pt idx="4970">
                  <c:v>5800.6050000000014</c:v>
                </c:pt>
                <c:pt idx="4971">
                  <c:v>5800.1090000000013</c:v>
                </c:pt>
                <c:pt idx="4972">
                  <c:v>5798.5729999999994</c:v>
                </c:pt>
                <c:pt idx="4973">
                  <c:v>5798.1210000000056</c:v>
                </c:pt>
                <c:pt idx="4974">
                  <c:v>5797.48</c:v>
                </c:pt>
                <c:pt idx="4975">
                  <c:v>5794.6790000000001</c:v>
                </c:pt>
                <c:pt idx="4976">
                  <c:v>5793.5890000000009</c:v>
                </c:pt>
                <c:pt idx="4977">
                  <c:v>5792.7390000000005</c:v>
                </c:pt>
                <c:pt idx="4978">
                  <c:v>5792.7240000000002</c:v>
                </c:pt>
                <c:pt idx="4979">
                  <c:v>5791.8560000000034</c:v>
                </c:pt>
                <c:pt idx="4980">
                  <c:v>5791.0030000000015</c:v>
                </c:pt>
                <c:pt idx="4981">
                  <c:v>5790.6630000000014</c:v>
                </c:pt>
                <c:pt idx="4982">
                  <c:v>5789.7190000000001</c:v>
                </c:pt>
                <c:pt idx="4983">
                  <c:v>5788.9329999999991</c:v>
                </c:pt>
                <c:pt idx="4984">
                  <c:v>5788.8410000000003</c:v>
                </c:pt>
                <c:pt idx="4985">
                  <c:v>5787.8760000000002</c:v>
                </c:pt>
                <c:pt idx="4986">
                  <c:v>5786.6839999999993</c:v>
                </c:pt>
                <c:pt idx="4987">
                  <c:v>5785.1930000000011</c:v>
                </c:pt>
                <c:pt idx="4988">
                  <c:v>5781.482</c:v>
                </c:pt>
                <c:pt idx="4989">
                  <c:v>5779.7779999999975</c:v>
                </c:pt>
                <c:pt idx="4990">
                  <c:v>5778.3090000000002</c:v>
                </c:pt>
                <c:pt idx="4991">
                  <c:v>5775.9369999999999</c:v>
                </c:pt>
                <c:pt idx="4992">
                  <c:v>5774.9349999999995</c:v>
                </c:pt>
                <c:pt idx="4993">
                  <c:v>5774.0160000000014</c:v>
                </c:pt>
                <c:pt idx="4994">
                  <c:v>5772.7099999999991</c:v>
                </c:pt>
                <c:pt idx="4995">
                  <c:v>5771.4860000000008</c:v>
                </c:pt>
                <c:pt idx="4996">
                  <c:v>5770.6150000000034</c:v>
                </c:pt>
                <c:pt idx="4997">
                  <c:v>5769.1880000000001</c:v>
                </c:pt>
                <c:pt idx="4998">
                  <c:v>5768.7090000000007</c:v>
                </c:pt>
                <c:pt idx="4999">
                  <c:v>5763.759</c:v>
                </c:pt>
                <c:pt idx="5000">
                  <c:v>5763.0910000000003</c:v>
                </c:pt>
                <c:pt idx="5001">
                  <c:v>5762.3150000000014</c:v>
                </c:pt>
                <c:pt idx="5002">
                  <c:v>5761.8240000000014</c:v>
                </c:pt>
                <c:pt idx="5003">
                  <c:v>5759.6061670000054</c:v>
                </c:pt>
                <c:pt idx="5004">
                  <c:v>5759.44</c:v>
                </c:pt>
                <c:pt idx="5005">
                  <c:v>5758.7620000000024</c:v>
                </c:pt>
                <c:pt idx="5006">
                  <c:v>5758.1270000000004</c:v>
                </c:pt>
                <c:pt idx="5007">
                  <c:v>5758.0839999999998</c:v>
                </c:pt>
                <c:pt idx="5008">
                  <c:v>5756.4290000000001</c:v>
                </c:pt>
                <c:pt idx="5009">
                  <c:v>5751.0630000000001</c:v>
                </c:pt>
                <c:pt idx="5010">
                  <c:v>5746.9120000000003</c:v>
                </c:pt>
                <c:pt idx="5011">
                  <c:v>5743.2639999999992</c:v>
                </c:pt>
                <c:pt idx="5012">
                  <c:v>5741.8690000000024</c:v>
                </c:pt>
                <c:pt idx="5013">
                  <c:v>5740.9890000000005</c:v>
                </c:pt>
                <c:pt idx="5014">
                  <c:v>5740.5830000000005</c:v>
                </c:pt>
                <c:pt idx="5015">
                  <c:v>5739.2690000000002</c:v>
                </c:pt>
                <c:pt idx="5016">
                  <c:v>5738.0690000000004</c:v>
                </c:pt>
                <c:pt idx="5017">
                  <c:v>5737.1489999999994</c:v>
                </c:pt>
                <c:pt idx="5018">
                  <c:v>5735.3710000000001</c:v>
                </c:pt>
                <c:pt idx="5019">
                  <c:v>5735.3130000000001</c:v>
                </c:pt>
                <c:pt idx="5020">
                  <c:v>5734.3290000000034</c:v>
                </c:pt>
                <c:pt idx="5021">
                  <c:v>5730.8630000000012</c:v>
                </c:pt>
                <c:pt idx="5022">
                  <c:v>5730.1420000000044</c:v>
                </c:pt>
                <c:pt idx="5023">
                  <c:v>5729.6260000000057</c:v>
                </c:pt>
                <c:pt idx="5024">
                  <c:v>5729.6039999999994</c:v>
                </c:pt>
                <c:pt idx="5025">
                  <c:v>5726.46</c:v>
                </c:pt>
                <c:pt idx="5026">
                  <c:v>5725.6980000000003</c:v>
                </c:pt>
                <c:pt idx="5027">
                  <c:v>5724.902</c:v>
                </c:pt>
                <c:pt idx="5028">
                  <c:v>5722.2359999999999</c:v>
                </c:pt>
                <c:pt idx="5029">
                  <c:v>5720.3180000000011</c:v>
                </c:pt>
                <c:pt idx="5030">
                  <c:v>5720.0430000000006</c:v>
                </c:pt>
                <c:pt idx="5031">
                  <c:v>5719.2339999999995</c:v>
                </c:pt>
                <c:pt idx="5032">
                  <c:v>5717.2113329999993</c:v>
                </c:pt>
                <c:pt idx="5033">
                  <c:v>5715.0260000000044</c:v>
                </c:pt>
                <c:pt idx="5034">
                  <c:v>5714.57</c:v>
                </c:pt>
                <c:pt idx="5035">
                  <c:v>5712.2760000000007</c:v>
                </c:pt>
                <c:pt idx="5036">
                  <c:v>5711.9570000000003</c:v>
                </c:pt>
                <c:pt idx="5037">
                  <c:v>5711.9</c:v>
                </c:pt>
                <c:pt idx="5038">
                  <c:v>5711.085</c:v>
                </c:pt>
                <c:pt idx="5039">
                  <c:v>5710.33</c:v>
                </c:pt>
                <c:pt idx="5040">
                  <c:v>5710.3070000000016</c:v>
                </c:pt>
                <c:pt idx="5041">
                  <c:v>5709.4010000000007</c:v>
                </c:pt>
                <c:pt idx="5042">
                  <c:v>5707.5440000000008</c:v>
                </c:pt>
                <c:pt idx="5043">
                  <c:v>5707.4059999999999</c:v>
                </c:pt>
                <c:pt idx="5044">
                  <c:v>5706.6140000000014</c:v>
                </c:pt>
                <c:pt idx="5045">
                  <c:v>5704.1420000000044</c:v>
                </c:pt>
                <c:pt idx="5046">
                  <c:v>5699.8010000000004</c:v>
                </c:pt>
                <c:pt idx="5047">
                  <c:v>5699.7510000000002</c:v>
                </c:pt>
                <c:pt idx="5048">
                  <c:v>5697.8769999999995</c:v>
                </c:pt>
                <c:pt idx="5049">
                  <c:v>5694.4800000000005</c:v>
                </c:pt>
                <c:pt idx="5050">
                  <c:v>5691.7530000000006</c:v>
                </c:pt>
                <c:pt idx="5051">
                  <c:v>5691.6880000000001</c:v>
                </c:pt>
                <c:pt idx="5052">
                  <c:v>5690.9759999999997</c:v>
                </c:pt>
                <c:pt idx="5053">
                  <c:v>5690.6350000000002</c:v>
                </c:pt>
                <c:pt idx="5054">
                  <c:v>5689.5590000000002</c:v>
                </c:pt>
                <c:pt idx="5055">
                  <c:v>5688.7960000000003</c:v>
                </c:pt>
                <c:pt idx="5056">
                  <c:v>5687.2779999999975</c:v>
                </c:pt>
                <c:pt idx="5057">
                  <c:v>5683.994999999999</c:v>
                </c:pt>
                <c:pt idx="5058">
                  <c:v>5683.7469999999994</c:v>
                </c:pt>
                <c:pt idx="5059">
                  <c:v>5681.3620000000055</c:v>
                </c:pt>
                <c:pt idx="5060">
                  <c:v>5679.4600000000009</c:v>
                </c:pt>
                <c:pt idx="5061">
                  <c:v>5679.4460000000008</c:v>
                </c:pt>
                <c:pt idx="5062">
                  <c:v>5676.6330000000007</c:v>
                </c:pt>
                <c:pt idx="5063">
                  <c:v>5675.8369999999995</c:v>
                </c:pt>
                <c:pt idx="5064">
                  <c:v>5675.4050000000007</c:v>
                </c:pt>
                <c:pt idx="5065">
                  <c:v>5673.7390000000005</c:v>
                </c:pt>
                <c:pt idx="5066">
                  <c:v>5672.0280000000002</c:v>
                </c:pt>
                <c:pt idx="5067">
                  <c:v>5669.2550000000001</c:v>
                </c:pt>
                <c:pt idx="5068">
                  <c:v>5666.9620000000004</c:v>
                </c:pt>
                <c:pt idx="5069">
                  <c:v>5664.7709999999997</c:v>
                </c:pt>
                <c:pt idx="5070">
                  <c:v>5661.5960000000014</c:v>
                </c:pt>
                <c:pt idx="5071">
                  <c:v>5658.3390000000009</c:v>
                </c:pt>
                <c:pt idx="5072">
                  <c:v>5657.4650000000001</c:v>
                </c:pt>
                <c:pt idx="5073">
                  <c:v>5653.9060000000009</c:v>
                </c:pt>
                <c:pt idx="5074">
                  <c:v>5652.1660000000056</c:v>
                </c:pt>
                <c:pt idx="5075">
                  <c:v>5650.9879999999994</c:v>
                </c:pt>
                <c:pt idx="5076">
                  <c:v>5650.1370000000015</c:v>
                </c:pt>
                <c:pt idx="5077">
                  <c:v>5648.3120000000044</c:v>
                </c:pt>
                <c:pt idx="5078">
                  <c:v>5644.777</c:v>
                </c:pt>
                <c:pt idx="5079">
                  <c:v>5644.2480000000005</c:v>
                </c:pt>
                <c:pt idx="5080">
                  <c:v>5640.9940000000006</c:v>
                </c:pt>
                <c:pt idx="5081">
                  <c:v>5639.8980000000001</c:v>
                </c:pt>
                <c:pt idx="5082">
                  <c:v>5639.7</c:v>
                </c:pt>
                <c:pt idx="5083">
                  <c:v>5637.2080000000005</c:v>
                </c:pt>
                <c:pt idx="5084">
                  <c:v>5637.085</c:v>
                </c:pt>
                <c:pt idx="5085">
                  <c:v>5634.4470000000001</c:v>
                </c:pt>
                <c:pt idx="5086">
                  <c:v>5629.4920000000002</c:v>
                </c:pt>
                <c:pt idx="5087">
                  <c:v>5627.92</c:v>
                </c:pt>
                <c:pt idx="5088">
                  <c:v>5626.8200000000024</c:v>
                </c:pt>
                <c:pt idx="5089">
                  <c:v>5624.5120000000024</c:v>
                </c:pt>
                <c:pt idx="5090">
                  <c:v>5623.2210000000014</c:v>
                </c:pt>
                <c:pt idx="5091">
                  <c:v>5621.9550000000008</c:v>
                </c:pt>
                <c:pt idx="5092">
                  <c:v>5621.3690000000024</c:v>
                </c:pt>
                <c:pt idx="5093">
                  <c:v>5620.335</c:v>
                </c:pt>
                <c:pt idx="5094">
                  <c:v>5619.8620000000055</c:v>
                </c:pt>
                <c:pt idx="5095">
                  <c:v>5614.5960000000014</c:v>
                </c:pt>
                <c:pt idx="5096">
                  <c:v>5614.5230000000001</c:v>
                </c:pt>
                <c:pt idx="5097">
                  <c:v>5614.134</c:v>
                </c:pt>
                <c:pt idx="5098">
                  <c:v>5612.0870000000004</c:v>
                </c:pt>
                <c:pt idx="5099">
                  <c:v>5611.6100000000024</c:v>
                </c:pt>
                <c:pt idx="5100">
                  <c:v>5611.4210000000003</c:v>
                </c:pt>
                <c:pt idx="5101">
                  <c:v>5609.375</c:v>
                </c:pt>
                <c:pt idx="5102">
                  <c:v>5609.1640000000034</c:v>
                </c:pt>
                <c:pt idx="5103">
                  <c:v>5609.0110000000013</c:v>
                </c:pt>
                <c:pt idx="5104">
                  <c:v>5604.6850000000004</c:v>
                </c:pt>
                <c:pt idx="5105">
                  <c:v>5604.4090000000006</c:v>
                </c:pt>
                <c:pt idx="5106">
                  <c:v>5601.8660000000054</c:v>
                </c:pt>
                <c:pt idx="5107">
                  <c:v>5601.3359999999993</c:v>
                </c:pt>
                <c:pt idx="5108">
                  <c:v>5595.5880000000006</c:v>
                </c:pt>
                <c:pt idx="5109">
                  <c:v>5593.9839999999995</c:v>
                </c:pt>
                <c:pt idx="5110">
                  <c:v>5593.9779999999992</c:v>
                </c:pt>
                <c:pt idx="5111">
                  <c:v>5584.7890000000007</c:v>
                </c:pt>
                <c:pt idx="5112">
                  <c:v>5582.6399999999994</c:v>
                </c:pt>
                <c:pt idx="5113">
                  <c:v>5582.4049999999997</c:v>
                </c:pt>
                <c:pt idx="5114">
                  <c:v>5581.1620000000057</c:v>
                </c:pt>
                <c:pt idx="5115">
                  <c:v>5580.4180000000006</c:v>
                </c:pt>
                <c:pt idx="5116">
                  <c:v>5579.9680000000008</c:v>
                </c:pt>
                <c:pt idx="5117">
                  <c:v>5578.5679999999993</c:v>
                </c:pt>
                <c:pt idx="5118">
                  <c:v>5576.0579999999991</c:v>
                </c:pt>
                <c:pt idx="5119">
                  <c:v>5572.6350000000002</c:v>
                </c:pt>
                <c:pt idx="5120">
                  <c:v>5571.4409999999989</c:v>
                </c:pt>
                <c:pt idx="5121">
                  <c:v>5570.8470000000007</c:v>
                </c:pt>
                <c:pt idx="5122">
                  <c:v>5568.3070000000007</c:v>
                </c:pt>
                <c:pt idx="5123">
                  <c:v>5568.2690000000002</c:v>
                </c:pt>
                <c:pt idx="5124">
                  <c:v>5564.4230000000016</c:v>
                </c:pt>
                <c:pt idx="5125">
                  <c:v>5563.1350000000002</c:v>
                </c:pt>
                <c:pt idx="5126">
                  <c:v>5562.848</c:v>
                </c:pt>
                <c:pt idx="5127">
                  <c:v>5562.5570000000016</c:v>
                </c:pt>
                <c:pt idx="5128">
                  <c:v>5560.0210000000034</c:v>
                </c:pt>
                <c:pt idx="5129">
                  <c:v>5554.3230000000003</c:v>
                </c:pt>
                <c:pt idx="5130">
                  <c:v>5550.95</c:v>
                </c:pt>
                <c:pt idx="5131">
                  <c:v>5549.8200000000024</c:v>
                </c:pt>
                <c:pt idx="5132">
                  <c:v>5549.1580000000013</c:v>
                </c:pt>
                <c:pt idx="5133">
                  <c:v>5548.5350000000008</c:v>
                </c:pt>
                <c:pt idx="5134">
                  <c:v>5548.3520000000044</c:v>
                </c:pt>
                <c:pt idx="5135">
                  <c:v>5548.1380000000008</c:v>
                </c:pt>
                <c:pt idx="5136">
                  <c:v>5548.1260000000057</c:v>
                </c:pt>
                <c:pt idx="5137">
                  <c:v>5545.3440000000001</c:v>
                </c:pt>
                <c:pt idx="5138">
                  <c:v>5539.2809999999999</c:v>
                </c:pt>
                <c:pt idx="5139">
                  <c:v>5538.2030000000004</c:v>
                </c:pt>
                <c:pt idx="5140">
                  <c:v>5537.8260000000055</c:v>
                </c:pt>
                <c:pt idx="5141">
                  <c:v>5536.7539999999999</c:v>
                </c:pt>
                <c:pt idx="5142">
                  <c:v>5536.4830000000002</c:v>
                </c:pt>
                <c:pt idx="5143">
                  <c:v>5532.0860000000002</c:v>
                </c:pt>
                <c:pt idx="5144">
                  <c:v>5531.8380000000006</c:v>
                </c:pt>
                <c:pt idx="5145">
                  <c:v>5528.5820000000003</c:v>
                </c:pt>
                <c:pt idx="5146">
                  <c:v>5528.1780000000008</c:v>
                </c:pt>
                <c:pt idx="5147">
                  <c:v>5525.5470000000005</c:v>
                </c:pt>
                <c:pt idx="5148">
                  <c:v>5525.4829999999993</c:v>
                </c:pt>
                <c:pt idx="5149">
                  <c:v>5525.143</c:v>
                </c:pt>
                <c:pt idx="5150">
                  <c:v>5524.3799999999992</c:v>
                </c:pt>
                <c:pt idx="5151">
                  <c:v>5522.134</c:v>
                </c:pt>
                <c:pt idx="5152">
                  <c:v>5521.6260000000057</c:v>
                </c:pt>
                <c:pt idx="5153">
                  <c:v>5521.0740000000005</c:v>
                </c:pt>
                <c:pt idx="5154">
                  <c:v>5520.9620000000004</c:v>
                </c:pt>
                <c:pt idx="5155">
                  <c:v>5519.7850000000008</c:v>
                </c:pt>
                <c:pt idx="5156">
                  <c:v>5516.9570000000003</c:v>
                </c:pt>
                <c:pt idx="5157">
                  <c:v>5516.7179999999998</c:v>
                </c:pt>
                <c:pt idx="5158">
                  <c:v>5516.0640000000003</c:v>
                </c:pt>
                <c:pt idx="5159">
                  <c:v>5514.8280000000004</c:v>
                </c:pt>
                <c:pt idx="5160">
                  <c:v>5514.3320000000003</c:v>
                </c:pt>
                <c:pt idx="5161">
                  <c:v>5513.1980000000003</c:v>
                </c:pt>
                <c:pt idx="5162">
                  <c:v>5512.2690000000002</c:v>
                </c:pt>
                <c:pt idx="5163">
                  <c:v>5509.8010000000004</c:v>
                </c:pt>
                <c:pt idx="5164">
                  <c:v>5509.4180000000006</c:v>
                </c:pt>
                <c:pt idx="5165">
                  <c:v>5507.8640000000014</c:v>
                </c:pt>
                <c:pt idx="5166">
                  <c:v>5506.9069999999992</c:v>
                </c:pt>
                <c:pt idx="5167">
                  <c:v>5506.2580000000007</c:v>
                </c:pt>
                <c:pt idx="5168">
                  <c:v>5505.4500000000007</c:v>
                </c:pt>
                <c:pt idx="5169">
                  <c:v>5502.3620000000055</c:v>
                </c:pt>
                <c:pt idx="5170">
                  <c:v>5501.5690000000004</c:v>
                </c:pt>
                <c:pt idx="5171">
                  <c:v>5499.8560000000034</c:v>
                </c:pt>
                <c:pt idx="5172">
                  <c:v>5499.4570000000003</c:v>
                </c:pt>
                <c:pt idx="5173">
                  <c:v>5492.0050000000001</c:v>
                </c:pt>
                <c:pt idx="5174">
                  <c:v>5490.7537219999995</c:v>
                </c:pt>
                <c:pt idx="5175">
                  <c:v>5489.7790000000005</c:v>
                </c:pt>
                <c:pt idx="5176">
                  <c:v>5487.5430000000006</c:v>
                </c:pt>
                <c:pt idx="5177">
                  <c:v>5486.3960000000034</c:v>
                </c:pt>
                <c:pt idx="5178">
                  <c:v>5486.2289999999994</c:v>
                </c:pt>
                <c:pt idx="5179">
                  <c:v>5485.05</c:v>
                </c:pt>
                <c:pt idx="5180">
                  <c:v>5484.2920000000004</c:v>
                </c:pt>
                <c:pt idx="5181">
                  <c:v>5483.8490000000002</c:v>
                </c:pt>
                <c:pt idx="5182">
                  <c:v>5481.8950000000004</c:v>
                </c:pt>
                <c:pt idx="5183">
                  <c:v>5481.72</c:v>
                </c:pt>
                <c:pt idx="5184">
                  <c:v>5478.9439999999995</c:v>
                </c:pt>
                <c:pt idx="5185">
                  <c:v>5474.049</c:v>
                </c:pt>
                <c:pt idx="5186">
                  <c:v>5473.3590000000013</c:v>
                </c:pt>
                <c:pt idx="5187">
                  <c:v>5472.3789999999999</c:v>
                </c:pt>
                <c:pt idx="5188">
                  <c:v>5470.3420000000024</c:v>
                </c:pt>
                <c:pt idx="5189">
                  <c:v>5467.929000000001</c:v>
                </c:pt>
                <c:pt idx="5190">
                  <c:v>5467.7460000000001</c:v>
                </c:pt>
                <c:pt idx="5191">
                  <c:v>5464.7469999999994</c:v>
                </c:pt>
                <c:pt idx="5192">
                  <c:v>5464.1710000000003</c:v>
                </c:pt>
                <c:pt idx="5193">
                  <c:v>5457.1530000000002</c:v>
                </c:pt>
                <c:pt idx="5194">
                  <c:v>5455.4350000000004</c:v>
                </c:pt>
                <c:pt idx="5195">
                  <c:v>5454.9490000000005</c:v>
                </c:pt>
                <c:pt idx="5196">
                  <c:v>5454.6210000000056</c:v>
                </c:pt>
                <c:pt idx="5197">
                  <c:v>5452.63</c:v>
                </c:pt>
                <c:pt idx="5198">
                  <c:v>5452.5290000000014</c:v>
                </c:pt>
                <c:pt idx="5199">
                  <c:v>5451.2170000000015</c:v>
                </c:pt>
                <c:pt idx="5200">
                  <c:v>5450.8369999999995</c:v>
                </c:pt>
                <c:pt idx="5201">
                  <c:v>5448.9540000000006</c:v>
                </c:pt>
                <c:pt idx="5202">
                  <c:v>5445.4609999999993</c:v>
                </c:pt>
                <c:pt idx="5203">
                  <c:v>5442.31</c:v>
                </c:pt>
                <c:pt idx="5204">
                  <c:v>5436.4030000000002</c:v>
                </c:pt>
                <c:pt idx="5205">
                  <c:v>5436.268</c:v>
                </c:pt>
                <c:pt idx="5206">
                  <c:v>5432.4130000000005</c:v>
                </c:pt>
                <c:pt idx="5207">
                  <c:v>5425.7709999999997</c:v>
                </c:pt>
                <c:pt idx="5208">
                  <c:v>5422.6880000000001</c:v>
                </c:pt>
                <c:pt idx="5209">
                  <c:v>5420.9879999999994</c:v>
                </c:pt>
                <c:pt idx="5210">
                  <c:v>5413.8200000000024</c:v>
                </c:pt>
                <c:pt idx="5211">
                  <c:v>5412.4180000000006</c:v>
                </c:pt>
                <c:pt idx="5212">
                  <c:v>5411.3760000000002</c:v>
                </c:pt>
                <c:pt idx="5213">
                  <c:v>5410.3560000000034</c:v>
                </c:pt>
                <c:pt idx="5214">
                  <c:v>5410.2160000000003</c:v>
                </c:pt>
                <c:pt idx="5215">
                  <c:v>5404.9389999999985</c:v>
                </c:pt>
                <c:pt idx="5216">
                  <c:v>5404.1590000000024</c:v>
                </c:pt>
                <c:pt idx="5217">
                  <c:v>5399.4749999999995</c:v>
                </c:pt>
                <c:pt idx="5218">
                  <c:v>5398.7520000000004</c:v>
                </c:pt>
                <c:pt idx="5219">
                  <c:v>5396.817</c:v>
                </c:pt>
                <c:pt idx="5220">
                  <c:v>5395.6670000000004</c:v>
                </c:pt>
                <c:pt idx="5221">
                  <c:v>5394.2179999999998</c:v>
                </c:pt>
                <c:pt idx="5222">
                  <c:v>5394.0550000000003</c:v>
                </c:pt>
                <c:pt idx="5223">
                  <c:v>5393.1739999999991</c:v>
                </c:pt>
                <c:pt idx="5224">
                  <c:v>5392.2280000000001</c:v>
                </c:pt>
                <c:pt idx="5225">
                  <c:v>5391.5940000000001</c:v>
                </c:pt>
                <c:pt idx="5226">
                  <c:v>5388.7079999999996</c:v>
                </c:pt>
                <c:pt idx="5227">
                  <c:v>5388.3810000000003</c:v>
                </c:pt>
                <c:pt idx="5228">
                  <c:v>5385.31</c:v>
                </c:pt>
                <c:pt idx="5229">
                  <c:v>5384.05</c:v>
                </c:pt>
                <c:pt idx="5230">
                  <c:v>5383.1120000000055</c:v>
                </c:pt>
                <c:pt idx="5231">
                  <c:v>5378.3460000000014</c:v>
                </c:pt>
                <c:pt idx="5232">
                  <c:v>5373.777</c:v>
                </c:pt>
                <c:pt idx="5233">
                  <c:v>5373.6200000000044</c:v>
                </c:pt>
                <c:pt idx="5234">
                  <c:v>5373.3130000000001</c:v>
                </c:pt>
                <c:pt idx="5235">
                  <c:v>5370.5059999999994</c:v>
                </c:pt>
                <c:pt idx="5236">
                  <c:v>5368.6760000000004</c:v>
                </c:pt>
                <c:pt idx="5237">
                  <c:v>5367.9969999999994</c:v>
                </c:pt>
                <c:pt idx="5238">
                  <c:v>5366.8610000000044</c:v>
                </c:pt>
                <c:pt idx="5239">
                  <c:v>5365.8670000000002</c:v>
                </c:pt>
                <c:pt idx="5240">
                  <c:v>5364.1011670000034</c:v>
                </c:pt>
                <c:pt idx="5241">
                  <c:v>5363.0560000000014</c:v>
                </c:pt>
                <c:pt idx="5242">
                  <c:v>5362.9149999999991</c:v>
                </c:pt>
                <c:pt idx="5243">
                  <c:v>5356.2220000000034</c:v>
                </c:pt>
                <c:pt idx="5244">
                  <c:v>5356.0430000000006</c:v>
                </c:pt>
                <c:pt idx="5245">
                  <c:v>5353.6270000000004</c:v>
                </c:pt>
                <c:pt idx="5246">
                  <c:v>5352.8110000000024</c:v>
                </c:pt>
                <c:pt idx="5247">
                  <c:v>5352.3339999999998</c:v>
                </c:pt>
                <c:pt idx="5248">
                  <c:v>5350.1370000000006</c:v>
                </c:pt>
                <c:pt idx="5249">
                  <c:v>5347.942</c:v>
                </c:pt>
                <c:pt idx="5250">
                  <c:v>5347.33</c:v>
                </c:pt>
                <c:pt idx="5251">
                  <c:v>5346.7220000000034</c:v>
                </c:pt>
                <c:pt idx="5252">
                  <c:v>5344.4890000000005</c:v>
                </c:pt>
                <c:pt idx="5253">
                  <c:v>5343.972999999999</c:v>
                </c:pt>
                <c:pt idx="5254">
                  <c:v>5336.8140000000003</c:v>
                </c:pt>
                <c:pt idx="5255">
                  <c:v>5335.3719999999994</c:v>
                </c:pt>
                <c:pt idx="5256">
                  <c:v>5335.2439999999997</c:v>
                </c:pt>
                <c:pt idx="5257">
                  <c:v>5331.4450000000006</c:v>
                </c:pt>
                <c:pt idx="5258">
                  <c:v>5330.6210000000056</c:v>
                </c:pt>
                <c:pt idx="5259">
                  <c:v>5325.1310000000003</c:v>
                </c:pt>
                <c:pt idx="5260">
                  <c:v>5322.0120000000024</c:v>
                </c:pt>
                <c:pt idx="5261">
                  <c:v>5320.0790000000006</c:v>
                </c:pt>
                <c:pt idx="5262">
                  <c:v>5319.4169999999995</c:v>
                </c:pt>
                <c:pt idx="5263">
                  <c:v>5318.8490000000002</c:v>
                </c:pt>
                <c:pt idx="5264">
                  <c:v>5318.7670000000007</c:v>
                </c:pt>
                <c:pt idx="5265">
                  <c:v>5317.6780000000008</c:v>
                </c:pt>
                <c:pt idx="5266">
                  <c:v>5316.1190000000024</c:v>
                </c:pt>
                <c:pt idx="5267">
                  <c:v>5315.8190000000004</c:v>
                </c:pt>
                <c:pt idx="5268">
                  <c:v>5314.4349999999995</c:v>
                </c:pt>
                <c:pt idx="5269">
                  <c:v>5312.6730000000007</c:v>
                </c:pt>
                <c:pt idx="5270">
                  <c:v>5312.6450000000013</c:v>
                </c:pt>
                <c:pt idx="5271">
                  <c:v>5312.6150000000034</c:v>
                </c:pt>
                <c:pt idx="5272">
                  <c:v>5307.4090000000006</c:v>
                </c:pt>
                <c:pt idx="5273">
                  <c:v>5306.2140000000009</c:v>
                </c:pt>
                <c:pt idx="5274">
                  <c:v>5299.8310000000001</c:v>
                </c:pt>
                <c:pt idx="5275">
                  <c:v>5299.7570000000005</c:v>
                </c:pt>
                <c:pt idx="5276">
                  <c:v>5297.2460000000001</c:v>
                </c:pt>
                <c:pt idx="5277">
                  <c:v>5296.5290000000014</c:v>
                </c:pt>
                <c:pt idx="5278">
                  <c:v>5295.4260000000004</c:v>
                </c:pt>
                <c:pt idx="5279">
                  <c:v>5292.6930000000002</c:v>
                </c:pt>
                <c:pt idx="5280">
                  <c:v>5291.0990000000011</c:v>
                </c:pt>
                <c:pt idx="5281">
                  <c:v>5290.2570000000005</c:v>
                </c:pt>
                <c:pt idx="5282">
                  <c:v>5287.9929999999995</c:v>
                </c:pt>
                <c:pt idx="5283">
                  <c:v>5286.6550000000034</c:v>
                </c:pt>
                <c:pt idx="5284">
                  <c:v>5285.8620000000064</c:v>
                </c:pt>
                <c:pt idx="5285">
                  <c:v>5283.8850000000002</c:v>
                </c:pt>
                <c:pt idx="5286">
                  <c:v>5282.884</c:v>
                </c:pt>
                <c:pt idx="5287">
                  <c:v>5280.4270000000006</c:v>
                </c:pt>
                <c:pt idx="5288">
                  <c:v>5278.8780000000006</c:v>
                </c:pt>
                <c:pt idx="5289">
                  <c:v>5276.4820000000009</c:v>
                </c:pt>
                <c:pt idx="5290">
                  <c:v>5274.7840000000006</c:v>
                </c:pt>
                <c:pt idx="5291">
                  <c:v>5272.5190000000002</c:v>
                </c:pt>
                <c:pt idx="5292">
                  <c:v>5271.2170000000015</c:v>
                </c:pt>
                <c:pt idx="5293">
                  <c:v>5270.3210000000054</c:v>
                </c:pt>
                <c:pt idx="5294">
                  <c:v>5268.8260000000055</c:v>
                </c:pt>
                <c:pt idx="5295">
                  <c:v>5267.6220000000058</c:v>
                </c:pt>
                <c:pt idx="5296">
                  <c:v>5262.9670000000015</c:v>
                </c:pt>
                <c:pt idx="5297">
                  <c:v>5262.1330000000007</c:v>
                </c:pt>
                <c:pt idx="5298">
                  <c:v>5259.1170000000002</c:v>
                </c:pt>
                <c:pt idx="5299">
                  <c:v>5256.3990000000003</c:v>
                </c:pt>
                <c:pt idx="5300">
                  <c:v>5255.7199999999993</c:v>
                </c:pt>
                <c:pt idx="5301">
                  <c:v>5254.53</c:v>
                </c:pt>
                <c:pt idx="5302">
                  <c:v>5252.2710000000006</c:v>
                </c:pt>
                <c:pt idx="5303">
                  <c:v>5243.7120000000004</c:v>
                </c:pt>
                <c:pt idx="5304">
                  <c:v>5234.0550000000003</c:v>
                </c:pt>
                <c:pt idx="5305">
                  <c:v>5233.9000000000005</c:v>
                </c:pt>
                <c:pt idx="5306">
                  <c:v>5227.7369999999992</c:v>
                </c:pt>
                <c:pt idx="5307">
                  <c:v>5221.3890000000001</c:v>
                </c:pt>
                <c:pt idx="5308">
                  <c:v>5219.4690000000001</c:v>
                </c:pt>
                <c:pt idx="5309">
                  <c:v>5217.4920000000002</c:v>
                </c:pt>
                <c:pt idx="5310">
                  <c:v>5214.0749999999998</c:v>
                </c:pt>
                <c:pt idx="5311">
                  <c:v>5212.8950000000013</c:v>
                </c:pt>
                <c:pt idx="5312">
                  <c:v>5212.7840000000006</c:v>
                </c:pt>
                <c:pt idx="5313">
                  <c:v>5210.7130000000006</c:v>
                </c:pt>
                <c:pt idx="5314">
                  <c:v>5210.2510000000002</c:v>
                </c:pt>
                <c:pt idx="5315">
                  <c:v>5207.6910000000034</c:v>
                </c:pt>
                <c:pt idx="5316">
                  <c:v>5203.1241670000054</c:v>
                </c:pt>
                <c:pt idx="5317">
                  <c:v>5201.3650000000034</c:v>
                </c:pt>
                <c:pt idx="5318">
                  <c:v>5197.2910000000011</c:v>
                </c:pt>
                <c:pt idx="5319">
                  <c:v>5195.509</c:v>
                </c:pt>
                <c:pt idx="5320">
                  <c:v>5193.0210000000034</c:v>
                </c:pt>
                <c:pt idx="5321">
                  <c:v>5189.6790000000001</c:v>
                </c:pt>
                <c:pt idx="5322">
                  <c:v>5187.6240000000034</c:v>
                </c:pt>
                <c:pt idx="5323">
                  <c:v>5185.5740000000005</c:v>
                </c:pt>
                <c:pt idx="5324">
                  <c:v>5184.4220000000014</c:v>
                </c:pt>
                <c:pt idx="5325">
                  <c:v>5179.2829999999994</c:v>
                </c:pt>
                <c:pt idx="5326">
                  <c:v>5177.5080000000007</c:v>
                </c:pt>
                <c:pt idx="5327">
                  <c:v>5176.9839999999995</c:v>
                </c:pt>
                <c:pt idx="5328">
                  <c:v>5174.3720000000003</c:v>
                </c:pt>
                <c:pt idx="5329">
                  <c:v>5174.3210000000054</c:v>
                </c:pt>
                <c:pt idx="5330">
                  <c:v>5171.4550000000008</c:v>
                </c:pt>
                <c:pt idx="5331">
                  <c:v>5170.6790000000001</c:v>
                </c:pt>
                <c:pt idx="5332">
                  <c:v>5170.259</c:v>
                </c:pt>
                <c:pt idx="5333">
                  <c:v>5169.6140000000014</c:v>
                </c:pt>
                <c:pt idx="5334">
                  <c:v>5168.5570000000007</c:v>
                </c:pt>
                <c:pt idx="5335">
                  <c:v>5167.8650000000034</c:v>
                </c:pt>
                <c:pt idx="5336">
                  <c:v>5167.5200000000004</c:v>
                </c:pt>
                <c:pt idx="5337">
                  <c:v>5166.83</c:v>
                </c:pt>
                <c:pt idx="5338">
                  <c:v>5165.0890000000009</c:v>
                </c:pt>
                <c:pt idx="5339">
                  <c:v>5164.6060000000034</c:v>
                </c:pt>
                <c:pt idx="5340">
                  <c:v>5163.8810000000003</c:v>
                </c:pt>
                <c:pt idx="5341">
                  <c:v>5163.4210000000003</c:v>
                </c:pt>
                <c:pt idx="5342">
                  <c:v>5163.1990000000014</c:v>
                </c:pt>
                <c:pt idx="5343">
                  <c:v>5162.9710000000005</c:v>
                </c:pt>
                <c:pt idx="5344">
                  <c:v>5161.7130000000006</c:v>
                </c:pt>
                <c:pt idx="5345">
                  <c:v>5161.3540000000003</c:v>
                </c:pt>
                <c:pt idx="5346">
                  <c:v>5160.0110000000004</c:v>
                </c:pt>
                <c:pt idx="5347">
                  <c:v>5158.5490000000009</c:v>
                </c:pt>
                <c:pt idx="5348">
                  <c:v>5157.1450000000004</c:v>
                </c:pt>
                <c:pt idx="5349">
                  <c:v>5155.4389999999985</c:v>
                </c:pt>
                <c:pt idx="5350">
                  <c:v>5154.7350000000006</c:v>
                </c:pt>
                <c:pt idx="5351">
                  <c:v>5151.6990000000014</c:v>
                </c:pt>
                <c:pt idx="5352">
                  <c:v>5151.0280000000002</c:v>
                </c:pt>
                <c:pt idx="5353">
                  <c:v>5149.8590000000004</c:v>
                </c:pt>
                <c:pt idx="5354">
                  <c:v>5149.554000000001</c:v>
                </c:pt>
                <c:pt idx="5355">
                  <c:v>5147.3490000000002</c:v>
                </c:pt>
                <c:pt idx="5356">
                  <c:v>5146.2750000000005</c:v>
                </c:pt>
                <c:pt idx="5357">
                  <c:v>5144.9710000000005</c:v>
                </c:pt>
                <c:pt idx="5358">
                  <c:v>5144.2050000000008</c:v>
                </c:pt>
                <c:pt idx="5359">
                  <c:v>5143.9699999999993</c:v>
                </c:pt>
                <c:pt idx="5360">
                  <c:v>5143.9000000000005</c:v>
                </c:pt>
                <c:pt idx="5361">
                  <c:v>5143.8870000000015</c:v>
                </c:pt>
                <c:pt idx="5362">
                  <c:v>5141.6510000000044</c:v>
                </c:pt>
                <c:pt idx="5363">
                  <c:v>5140.7739999999994</c:v>
                </c:pt>
                <c:pt idx="5364">
                  <c:v>5140.7210000000014</c:v>
                </c:pt>
                <c:pt idx="5365">
                  <c:v>5139.3360000000002</c:v>
                </c:pt>
                <c:pt idx="5366">
                  <c:v>5138.9569999999994</c:v>
                </c:pt>
                <c:pt idx="5367">
                  <c:v>5138.4520000000002</c:v>
                </c:pt>
                <c:pt idx="5368">
                  <c:v>5133.6460000000034</c:v>
                </c:pt>
                <c:pt idx="5369">
                  <c:v>5133.4360000000006</c:v>
                </c:pt>
                <c:pt idx="5370">
                  <c:v>5129.0300000000007</c:v>
                </c:pt>
                <c:pt idx="5371">
                  <c:v>5128.1450000000004</c:v>
                </c:pt>
                <c:pt idx="5372">
                  <c:v>5124.875</c:v>
                </c:pt>
                <c:pt idx="5373">
                  <c:v>5124.6520000000055</c:v>
                </c:pt>
                <c:pt idx="5374">
                  <c:v>5123.0779999999995</c:v>
                </c:pt>
                <c:pt idx="5375">
                  <c:v>5122.1309999999994</c:v>
                </c:pt>
                <c:pt idx="5376">
                  <c:v>5119.3110000000024</c:v>
                </c:pt>
                <c:pt idx="5377">
                  <c:v>5118.9370000000008</c:v>
                </c:pt>
                <c:pt idx="5378">
                  <c:v>5118.9310000000005</c:v>
                </c:pt>
                <c:pt idx="5379">
                  <c:v>5116.7570000000005</c:v>
                </c:pt>
                <c:pt idx="5380">
                  <c:v>5115.0070000000005</c:v>
                </c:pt>
                <c:pt idx="5381">
                  <c:v>5111.4920000000002</c:v>
                </c:pt>
                <c:pt idx="5382">
                  <c:v>5110.683</c:v>
                </c:pt>
                <c:pt idx="5383">
                  <c:v>5105.7520000000004</c:v>
                </c:pt>
                <c:pt idx="5384">
                  <c:v>5102.4479999999985</c:v>
                </c:pt>
                <c:pt idx="5385">
                  <c:v>5102.2480000000005</c:v>
                </c:pt>
                <c:pt idx="5386">
                  <c:v>5101.6140000000014</c:v>
                </c:pt>
                <c:pt idx="5387">
                  <c:v>5100.9789999999994</c:v>
                </c:pt>
                <c:pt idx="5388">
                  <c:v>5100.7860000000001</c:v>
                </c:pt>
                <c:pt idx="5389">
                  <c:v>5098.223</c:v>
                </c:pt>
                <c:pt idx="5390">
                  <c:v>5097.7950000000001</c:v>
                </c:pt>
                <c:pt idx="5391">
                  <c:v>5096.9409999999998</c:v>
                </c:pt>
                <c:pt idx="5392">
                  <c:v>5096.8270000000011</c:v>
                </c:pt>
                <c:pt idx="5393">
                  <c:v>5096.6850000000013</c:v>
                </c:pt>
                <c:pt idx="5394">
                  <c:v>5095.384</c:v>
                </c:pt>
                <c:pt idx="5395">
                  <c:v>5093.8809999999994</c:v>
                </c:pt>
                <c:pt idx="5396">
                  <c:v>5089.2850000000008</c:v>
                </c:pt>
                <c:pt idx="5397">
                  <c:v>5089.1600000000044</c:v>
                </c:pt>
                <c:pt idx="5398">
                  <c:v>5086.7440000000006</c:v>
                </c:pt>
                <c:pt idx="5399">
                  <c:v>5086.3490000000002</c:v>
                </c:pt>
                <c:pt idx="5400">
                  <c:v>5083.348</c:v>
                </c:pt>
                <c:pt idx="5401">
                  <c:v>5076.3250000000044</c:v>
                </c:pt>
                <c:pt idx="5402">
                  <c:v>5075.2739999999994</c:v>
                </c:pt>
                <c:pt idx="5403">
                  <c:v>5074.3110000000024</c:v>
                </c:pt>
                <c:pt idx="5404">
                  <c:v>5070.5810000000001</c:v>
                </c:pt>
                <c:pt idx="5405">
                  <c:v>5070.3210000000054</c:v>
                </c:pt>
                <c:pt idx="5406">
                  <c:v>5067.4400000000005</c:v>
                </c:pt>
                <c:pt idx="5407">
                  <c:v>5066.3260000000055</c:v>
                </c:pt>
                <c:pt idx="5408">
                  <c:v>5065.2889999999998</c:v>
                </c:pt>
                <c:pt idx="5409">
                  <c:v>5064.8050000000003</c:v>
                </c:pt>
                <c:pt idx="5410">
                  <c:v>5059.4689999999991</c:v>
                </c:pt>
                <c:pt idx="5411">
                  <c:v>5059.3570000000009</c:v>
                </c:pt>
                <c:pt idx="5412">
                  <c:v>5059.21</c:v>
                </c:pt>
                <c:pt idx="5413">
                  <c:v>5056.6023890000024</c:v>
                </c:pt>
                <c:pt idx="5414">
                  <c:v>5055.1270000000004</c:v>
                </c:pt>
                <c:pt idx="5415">
                  <c:v>5054.2690000000002</c:v>
                </c:pt>
                <c:pt idx="5416">
                  <c:v>5050.1010000000024</c:v>
                </c:pt>
                <c:pt idx="5417">
                  <c:v>5046.8620000000055</c:v>
                </c:pt>
                <c:pt idx="5418">
                  <c:v>5046.7670000000007</c:v>
                </c:pt>
                <c:pt idx="5419">
                  <c:v>5041.5729999999994</c:v>
                </c:pt>
                <c:pt idx="5420">
                  <c:v>5039.027</c:v>
                </c:pt>
                <c:pt idx="5421">
                  <c:v>5037.3440000000001</c:v>
                </c:pt>
                <c:pt idx="5422">
                  <c:v>5034.4379999999965</c:v>
                </c:pt>
                <c:pt idx="5423">
                  <c:v>5032.8390000000009</c:v>
                </c:pt>
                <c:pt idx="5424">
                  <c:v>5032.3320000000003</c:v>
                </c:pt>
                <c:pt idx="5425">
                  <c:v>5030.6380000000008</c:v>
                </c:pt>
                <c:pt idx="5426">
                  <c:v>5029.6039999999994</c:v>
                </c:pt>
                <c:pt idx="5427">
                  <c:v>5027.1720000000014</c:v>
                </c:pt>
                <c:pt idx="5428">
                  <c:v>5025.83</c:v>
                </c:pt>
                <c:pt idx="5429">
                  <c:v>5023.1470000000018</c:v>
                </c:pt>
                <c:pt idx="5430">
                  <c:v>5022.5409999999993</c:v>
                </c:pt>
                <c:pt idx="5431">
                  <c:v>5022.0479999999998</c:v>
                </c:pt>
                <c:pt idx="5432">
                  <c:v>5021.1470000000008</c:v>
                </c:pt>
                <c:pt idx="5433">
                  <c:v>5018.5810000000001</c:v>
                </c:pt>
                <c:pt idx="5434">
                  <c:v>5018.241</c:v>
                </c:pt>
                <c:pt idx="5435">
                  <c:v>5018.0260000000044</c:v>
                </c:pt>
                <c:pt idx="5436">
                  <c:v>5017.4370000000008</c:v>
                </c:pt>
                <c:pt idx="5437">
                  <c:v>5012.8810000000003</c:v>
                </c:pt>
                <c:pt idx="5438">
                  <c:v>5012.518</c:v>
                </c:pt>
                <c:pt idx="5439">
                  <c:v>5010.7610000000004</c:v>
                </c:pt>
                <c:pt idx="5440">
                  <c:v>5009.8580000000002</c:v>
                </c:pt>
                <c:pt idx="5441">
                  <c:v>5006.8690000000024</c:v>
                </c:pt>
                <c:pt idx="5442">
                  <c:v>5004.6250000000055</c:v>
                </c:pt>
                <c:pt idx="5443">
                  <c:v>5004.3110000000024</c:v>
                </c:pt>
                <c:pt idx="5444">
                  <c:v>5003.7189999999991</c:v>
                </c:pt>
                <c:pt idx="5445">
                  <c:v>5003.1640000000034</c:v>
                </c:pt>
                <c:pt idx="5446">
                  <c:v>5003.1170000000002</c:v>
                </c:pt>
                <c:pt idx="5447">
                  <c:v>5000.4040000000005</c:v>
                </c:pt>
                <c:pt idx="5448">
                  <c:v>4997.0793889999995</c:v>
                </c:pt>
                <c:pt idx="5449">
                  <c:v>4995.9470000000001</c:v>
                </c:pt>
                <c:pt idx="5450">
                  <c:v>4995.9069999999992</c:v>
                </c:pt>
                <c:pt idx="5451">
                  <c:v>4995.7310000000007</c:v>
                </c:pt>
                <c:pt idx="5452">
                  <c:v>4991.6900000000014</c:v>
                </c:pt>
                <c:pt idx="5453">
                  <c:v>4991.2880000000005</c:v>
                </c:pt>
                <c:pt idx="5454">
                  <c:v>4990.3200000000024</c:v>
                </c:pt>
                <c:pt idx="5455">
                  <c:v>4990.009</c:v>
                </c:pt>
                <c:pt idx="5456">
                  <c:v>4989.8550000000014</c:v>
                </c:pt>
                <c:pt idx="5457">
                  <c:v>4989.0810000000001</c:v>
                </c:pt>
                <c:pt idx="5458">
                  <c:v>4988.5510000000013</c:v>
                </c:pt>
                <c:pt idx="5459">
                  <c:v>4987.8340000000007</c:v>
                </c:pt>
                <c:pt idx="5460">
                  <c:v>4987.6000000000013</c:v>
                </c:pt>
                <c:pt idx="5461">
                  <c:v>4985.4640000000009</c:v>
                </c:pt>
                <c:pt idx="5462">
                  <c:v>4985.3410000000003</c:v>
                </c:pt>
                <c:pt idx="5463">
                  <c:v>4982.9479999999985</c:v>
                </c:pt>
                <c:pt idx="5464">
                  <c:v>4979.0580000000009</c:v>
                </c:pt>
                <c:pt idx="5465">
                  <c:v>4978.969000000001</c:v>
                </c:pt>
                <c:pt idx="5466">
                  <c:v>4978.9610000000002</c:v>
                </c:pt>
                <c:pt idx="5467">
                  <c:v>4978.9069999999992</c:v>
                </c:pt>
                <c:pt idx="5468">
                  <c:v>4976.9759999999997</c:v>
                </c:pt>
                <c:pt idx="5469">
                  <c:v>4976.3070000000016</c:v>
                </c:pt>
                <c:pt idx="5470">
                  <c:v>4968.3200000000024</c:v>
                </c:pt>
                <c:pt idx="5471">
                  <c:v>4965.2180000000008</c:v>
                </c:pt>
                <c:pt idx="5472">
                  <c:v>4963.9450000000006</c:v>
                </c:pt>
                <c:pt idx="5473">
                  <c:v>4962.8240000000014</c:v>
                </c:pt>
                <c:pt idx="5474">
                  <c:v>4962.6620000000057</c:v>
                </c:pt>
                <c:pt idx="5475">
                  <c:v>4957.7140000000009</c:v>
                </c:pt>
                <c:pt idx="5476">
                  <c:v>4956.4710000000005</c:v>
                </c:pt>
                <c:pt idx="5477">
                  <c:v>4955.6790000000001</c:v>
                </c:pt>
                <c:pt idx="5478">
                  <c:v>4954.0730000000003</c:v>
                </c:pt>
                <c:pt idx="5479">
                  <c:v>4953.4540000000006</c:v>
                </c:pt>
                <c:pt idx="5480">
                  <c:v>4953.2250000000013</c:v>
                </c:pt>
                <c:pt idx="5481">
                  <c:v>4953.1730000000007</c:v>
                </c:pt>
                <c:pt idx="5482">
                  <c:v>4951.0960000000014</c:v>
                </c:pt>
                <c:pt idx="5483">
                  <c:v>4950.0600000000004</c:v>
                </c:pt>
                <c:pt idx="5484">
                  <c:v>4949.3680000000004</c:v>
                </c:pt>
                <c:pt idx="5485">
                  <c:v>4948.0620000000044</c:v>
                </c:pt>
                <c:pt idx="5486">
                  <c:v>4946.1990000000014</c:v>
                </c:pt>
                <c:pt idx="5487">
                  <c:v>4942.8100000000004</c:v>
                </c:pt>
                <c:pt idx="5488">
                  <c:v>4942.7020000000011</c:v>
                </c:pt>
                <c:pt idx="5489">
                  <c:v>4942.4190000000008</c:v>
                </c:pt>
                <c:pt idx="5490">
                  <c:v>4941.9369999999999</c:v>
                </c:pt>
                <c:pt idx="5491">
                  <c:v>4938.8200000000024</c:v>
                </c:pt>
                <c:pt idx="5492">
                  <c:v>4938.5190000000002</c:v>
                </c:pt>
                <c:pt idx="5493">
                  <c:v>4936.6280000000024</c:v>
                </c:pt>
                <c:pt idx="5494">
                  <c:v>4935.8590000000004</c:v>
                </c:pt>
                <c:pt idx="5495">
                  <c:v>4934.8660000000054</c:v>
                </c:pt>
                <c:pt idx="5496">
                  <c:v>4934.8140000000012</c:v>
                </c:pt>
                <c:pt idx="5497">
                  <c:v>4933.018</c:v>
                </c:pt>
                <c:pt idx="5498">
                  <c:v>4932.9389999999985</c:v>
                </c:pt>
                <c:pt idx="5499">
                  <c:v>4931.451</c:v>
                </c:pt>
                <c:pt idx="5500">
                  <c:v>4928.4069999999992</c:v>
                </c:pt>
                <c:pt idx="5501">
                  <c:v>4927.46</c:v>
                </c:pt>
                <c:pt idx="5502">
                  <c:v>4924.2420000000002</c:v>
                </c:pt>
                <c:pt idx="5503">
                  <c:v>4923.4969999999994</c:v>
                </c:pt>
                <c:pt idx="5504">
                  <c:v>4923.0440000000008</c:v>
                </c:pt>
                <c:pt idx="5505">
                  <c:v>4920.4779999999992</c:v>
                </c:pt>
                <c:pt idx="5506">
                  <c:v>4918.1590000000024</c:v>
                </c:pt>
                <c:pt idx="5507">
                  <c:v>4916.0290000000014</c:v>
                </c:pt>
                <c:pt idx="5508">
                  <c:v>4914.13</c:v>
                </c:pt>
                <c:pt idx="5509">
                  <c:v>4912.6120000000055</c:v>
                </c:pt>
                <c:pt idx="5510">
                  <c:v>4912.4490000000005</c:v>
                </c:pt>
                <c:pt idx="5511">
                  <c:v>4912.07</c:v>
                </c:pt>
                <c:pt idx="5512">
                  <c:v>4911.8780000000006</c:v>
                </c:pt>
                <c:pt idx="5513">
                  <c:v>4908.2719999999999</c:v>
                </c:pt>
                <c:pt idx="5514">
                  <c:v>4905.09</c:v>
                </c:pt>
                <c:pt idx="5515">
                  <c:v>4903.5410000000002</c:v>
                </c:pt>
                <c:pt idx="5516">
                  <c:v>4900.174</c:v>
                </c:pt>
                <c:pt idx="5517">
                  <c:v>4899.9739999999965</c:v>
                </c:pt>
                <c:pt idx="5518">
                  <c:v>4898.3210000000054</c:v>
                </c:pt>
                <c:pt idx="5519">
                  <c:v>4898.0810000000001</c:v>
                </c:pt>
                <c:pt idx="5520">
                  <c:v>4895.893</c:v>
                </c:pt>
                <c:pt idx="5521">
                  <c:v>4894.88</c:v>
                </c:pt>
                <c:pt idx="5522">
                  <c:v>4894.0380000000005</c:v>
                </c:pt>
                <c:pt idx="5523">
                  <c:v>4893.4139999999998</c:v>
                </c:pt>
                <c:pt idx="5524">
                  <c:v>4892.6570000000002</c:v>
                </c:pt>
                <c:pt idx="5525">
                  <c:v>4891.6160000000054</c:v>
                </c:pt>
                <c:pt idx="5526">
                  <c:v>4889.4679999999989</c:v>
                </c:pt>
                <c:pt idx="5527">
                  <c:v>4888.3150000000014</c:v>
                </c:pt>
                <c:pt idx="5528">
                  <c:v>4885.5220000000054</c:v>
                </c:pt>
                <c:pt idx="5529">
                  <c:v>4885.2280000000001</c:v>
                </c:pt>
                <c:pt idx="5530">
                  <c:v>4883.527</c:v>
                </c:pt>
                <c:pt idx="5531">
                  <c:v>4882.1090000000004</c:v>
                </c:pt>
                <c:pt idx="5532">
                  <c:v>4880.5170000000007</c:v>
                </c:pt>
                <c:pt idx="5533">
                  <c:v>4878.33</c:v>
                </c:pt>
                <c:pt idx="5534">
                  <c:v>4876.8660000000054</c:v>
                </c:pt>
                <c:pt idx="5535">
                  <c:v>4874.4310000000005</c:v>
                </c:pt>
                <c:pt idx="5536">
                  <c:v>4873.308</c:v>
                </c:pt>
                <c:pt idx="5537">
                  <c:v>4871.3940000000002</c:v>
                </c:pt>
                <c:pt idx="5538">
                  <c:v>4871.0320000000002</c:v>
                </c:pt>
                <c:pt idx="5539">
                  <c:v>4870.8140000000003</c:v>
                </c:pt>
                <c:pt idx="5540">
                  <c:v>4870.7040000000006</c:v>
                </c:pt>
                <c:pt idx="5541">
                  <c:v>4870.3470000000007</c:v>
                </c:pt>
                <c:pt idx="5542">
                  <c:v>4869.2560000000003</c:v>
                </c:pt>
                <c:pt idx="5543">
                  <c:v>4868.8410000000003</c:v>
                </c:pt>
                <c:pt idx="5544">
                  <c:v>4867.6820000000034</c:v>
                </c:pt>
                <c:pt idx="5545">
                  <c:v>4862.9079999999994</c:v>
                </c:pt>
                <c:pt idx="5546">
                  <c:v>4861.5660000000034</c:v>
                </c:pt>
                <c:pt idx="5547">
                  <c:v>4858.8600000000024</c:v>
                </c:pt>
                <c:pt idx="5548">
                  <c:v>4858.0290000000014</c:v>
                </c:pt>
                <c:pt idx="5549">
                  <c:v>4857.7050000000008</c:v>
                </c:pt>
                <c:pt idx="5550">
                  <c:v>4857.1150000000034</c:v>
                </c:pt>
                <c:pt idx="5551">
                  <c:v>4854.2040000000006</c:v>
                </c:pt>
                <c:pt idx="5552">
                  <c:v>4852.8370000000004</c:v>
                </c:pt>
                <c:pt idx="5553">
                  <c:v>4848.3550000000014</c:v>
                </c:pt>
                <c:pt idx="5554">
                  <c:v>4842.049</c:v>
                </c:pt>
                <c:pt idx="5555">
                  <c:v>4841.0890000000009</c:v>
                </c:pt>
                <c:pt idx="5556">
                  <c:v>4840.7809999999999</c:v>
                </c:pt>
                <c:pt idx="5557">
                  <c:v>4840.3220000000056</c:v>
                </c:pt>
                <c:pt idx="5558">
                  <c:v>4839.9460000000008</c:v>
                </c:pt>
                <c:pt idx="5559">
                  <c:v>4839.0990000000002</c:v>
                </c:pt>
                <c:pt idx="5560">
                  <c:v>4837.4890000000005</c:v>
                </c:pt>
                <c:pt idx="5561">
                  <c:v>4837.1470000000008</c:v>
                </c:pt>
                <c:pt idx="5562">
                  <c:v>4833.3160000000034</c:v>
                </c:pt>
                <c:pt idx="5563">
                  <c:v>4831.893</c:v>
                </c:pt>
                <c:pt idx="5564">
                  <c:v>4831.7</c:v>
                </c:pt>
                <c:pt idx="5565">
                  <c:v>4831.3089999999993</c:v>
                </c:pt>
                <c:pt idx="5566">
                  <c:v>4828.9560000000001</c:v>
                </c:pt>
                <c:pt idx="5567">
                  <c:v>4827.5530000000008</c:v>
                </c:pt>
                <c:pt idx="5568">
                  <c:v>4827.0250000000024</c:v>
                </c:pt>
                <c:pt idx="5569">
                  <c:v>4823.4650000000001</c:v>
                </c:pt>
                <c:pt idx="5570">
                  <c:v>4823.0110000000013</c:v>
                </c:pt>
                <c:pt idx="5571">
                  <c:v>4822.1579999999994</c:v>
                </c:pt>
                <c:pt idx="5572">
                  <c:v>4820.8260000000055</c:v>
                </c:pt>
                <c:pt idx="5573">
                  <c:v>4819.6450000000013</c:v>
                </c:pt>
                <c:pt idx="5574">
                  <c:v>4818.8980000000001</c:v>
                </c:pt>
                <c:pt idx="5575">
                  <c:v>4818.24</c:v>
                </c:pt>
                <c:pt idx="5576">
                  <c:v>4817.6360000000004</c:v>
                </c:pt>
                <c:pt idx="5577">
                  <c:v>4817.3230000000003</c:v>
                </c:pt>
                <c:pt idx="5578">
                  <c:v>4816.8130000000001</c:v>
                </c:pt>
                <c:pt idx="5579">
                  <c:v>4816.2760000000007</c:v>
                </c:pt>
                <c:pt idx="5580">
                  <c:v>4812.6560000000054</c:v>
                </c:pt>
                <c:pt idx="5581">
                  <c:v>4812.2480000000005</c:v>
                </c:pt>
                <c:pt idx="5582">
                  <c:v>4811.9130000000005</c:v>
                </c:pt>
                <c:pt idx="5583">
                  <c:v>4809.6200000000044</c:v>
                </c:pt>
                <c:pt idx="5584">
                  <c:v>4809.5790000000006</c:v>
                </c:pt>
                <c:pt idx="5585">
                  <c:v>4808.1350000000002</c:v>
                </c:pt>
                <c:pt idx="5586">
                  <c:v>4807.1739999999991</c:v>
                </c:pt>
                <c:pt idx="5587">
                  <c:v>4804.7150000000001</c:v>
                </c:pt>
                <c:pt idx="5588">
                  <c:v>4804.2220000000034</c:v>
                </c:pt>
                <c:pt idx="5589">
                  <c:v>4802.7779999999975</c:v>
                </c:pt>
                <c:pt idx="5590">
                  <c:v>4802.7080000000005</c:v>
                </c:pt>
                <c:pt idx="5591">
                  <c:v>4802.3920000000044</c:v>
                </c:pt>
                <c:pt idx="5592">
                  <c:v>4802.2130000000006</c:v>
                </c:pt>
                <c:pt idx="5593">
                  <c:v>4801.9450000000006</c:v>
                </c:pt>
                <c:pt idx="5594">
                  <c:v>4800.2829999999994</c:v>
                </c:pt>
                <c:pt idx="5595">
                  <c:v>4800.0739999999996</c:v>
                </c:pt>
                <c:pt idx="5596">
                  <c:v>4796.6550000000034</c:v>
                </c:pt>
                <c:pt idx="5597">
                  <c:v>4794.4660000000003</c:v>
                </c:pt>
                <c:pt idx="5598">
                  <c:v>4792.3302780000004</c:v>
                </c:pt>
                <c:pt idx="5599">
                  <c:v>4791.7140000000009</c:v>
                </c:pt>
                <c:pt idx="5600">
                  <c:v>4790.5810000000001</c:v>
                </c:pt>
                <c:pt idx="5601">
                  <c:v>4789.1890000000003</c:v>
                </c:pt>
                <c:pt idx="5602">
                  <c:v>4788.8900000000003</c:v>
                </c:pt>
                <c:pt idx="5603">
                  <c:v>4786.353000000001</c:v>
                </c:pt>
                <c:pt idx="5604">
                  <c:v>4786.3090000000002</c:v>
                </c:pt>
                <c:pt idx="5605">
                  <c:v>4785.6240000000034</c:v>
                </c:pt>
                <c:pt idx="5606">
                  <c:v>4785.0460000000003</c:v>
                </c:pt>
                <c:pt idx="5607">
                  <c:v>4780.857</c:v>
                </c:pt>
                <c:pt idx="5608">
                  <c:v>4778.8100000000013</c:v>
                </c:pt>
                <c:pt idx="5609">
                  <c:v>4777.7260000000024</c:v>
                </c:pt>
                <c:pt idx="5610">
                  <c:v>4776.6720000000014</c:v>
                </c:pt>
                <c:pt idx="5611">
                  <c:v>4772.6730000000016</c:v>
                </c:pt>
                <c:pt idx="5612">
                  <c:v>4772.5070000000005</c:v>
                </c:pt>
                <c:pt idx="5613">
                  <c:v>4772.1190000000024</c:v>
                </c:pt>
                <c:pt idx="5614">
                  <c:v>4771.4720000000007</c:v>
                </c:pt>
                <c:pt idx="5615">
                  <c:v>4770.4859999999999</c:v>
                </c:pt>
                <c:pt idx="5616">
                  <c:v>4769.5309999999999</c:v>
                </c:pt>
                <c:pt idx="5617">
                  <c:v>4768.9869999999992</c:v>
                </c:pt>
                <c:pt idx="5618">
                  <c:v>4763.9789999999994</c:v>
                </c:pt>
                <c:pt idx="5619">
                  <c:v>4763.7250000000013</c:v>
                </c:pt>
                <c:pt idx="5620">
                  <c:v>4763.4650000000001</c:v>
                </c:pt>
                <c:pt idx="5621">
                  <c:v>4761.7560000000003</c:v>
                </c:pt>
                <c:pt idx="5622">
                  <c:v>4761.549</c:v>
                </c:pt>
                <c:pt idx="5623">
                  <c:v>4761.2779999999975</c:v>
                </c:pt>
                <c:pt idx="5624">
                  <c:v>4761.1120000000055</c:v>
                </c:pt>
                <c:pt idx="5625">
                  <c:v>4760.6650000000054</c:v>
                </c:pt>
                <c:pt idx="5626">
                  <c:v>4760.5280000000002</c:v>
                </c:pt>
                <c:pt idx="5627">
                  <c:v>4760.4789999999994</c:v>
                </c:pt>
                <c:pt idx="5628">
                  <c:v>4760.3860000000013</c:v>
                </c:pt>
                <c:pt idx="5629">
                  <c:v>4760.1490000000003</c:v>
                </c:pt>
                <c:pt idx="5630">
                  <c:v>4759.7709999999997</c:v>
                </c:pt>
                <c:pt idx="5631">
                  <c:v>4757.7430000000004</c:v>
                </c:pt>
                <c:pt idx="5632">
                  <c:v>4753.92</c:v>
                </c:pt>
                <c:pt idx="5633">
                  <c:v>4751.9590000000007</c:v>
                </c:pt>
                <c:pt idx="5634">
                  <c:v>4751.9260000000004</c:v>
                </c:pt>
                <c:pt idx="5635">
                  <c:v>4751.2000000000007</c:v>
                </c:pt>
                <c:pt idx="5636">
                  <c:v>4750.3120000000044</c:v>
                </c:pt>
                <c:pt idx="5637">
                  <c:v>4750.2179999999998</c:v>
                </c:pt>
                <c:pt idx="5638">
                  <c:v>4749.197000000001</c:v>
                </c:pt>
                <c:pt idx="5639">
                  <c:v>4747.3820000000014</c:v>
                </c:pt>
                <c:pt idx="5640">
                  <c:v>4747.2030000000004</c:v>
                </c:pt>
                <c:pt idx="5641">
                  <c:v>4738.8830000000007</c:v>
                </c:pt>
                <c:pt idx="5642">
                  <c:v>4738.6120000000055</c:v>
                </c:pt>
                <c:pt idx="5643">
                  <c:v>4738.1810000000014</c:v>
                </c:pt>
                <c:pt idx="5644">
                  <c:v>4738.1580000000004</c:v>
                </c:pt>
                <c:pt idx="5645">
                  <c:v>4736.5690000000004</c:v>
                </c:pt>
                <c:pt idx="5646">
                  <c:v>4735.9230000000016</c:v>
                </c:pt>
                <c:pt idx="5647">
                  <c:v>4734.1479999999992</c:v>
                </c:pt>
                <c:pt idx="5648">
                  <c:v>4733.2590000000009</c:v>
                </c:pt>
                <c:pt idx="5649">
                  <c:v>4733.0939999999991</c:v>
                </c:pt>
                <c:pt idx="5650">
                  <c:v>4732.683</c:v>
                </c:pt>
                <c:pt idx="5651">
                  <c:v>4730.5280000000002</c:v>
                </c:pt>
                <c:pt idx="5652">
                  <c:v>4729.6820000000034</c:v>
                </c:pt>
                <c:pt idx="5653">
                  <c:v>4728.5200000000013</c:v>
                </c:pt>
                <c:pt idx="5654">
                  <c:v>4727.9120000000003</c:v>
                </c:pt>
                <c:pt idx="5655">
                  <c:v>4726.6810000000014</c:v>
                </c:pt>
                <c:pt idx="5656">
                  <c:v>4726.5360000000001</c:v>
                </c:pt>
                <c:pt idx="5657">
                  <c:v>4723.6760000000004</c:v>
                </c:pt>
                <c:pt idx="5658">
                  <c:v>4720.2240000000002</c:v>
                </c:pt>
                <c:pt idx="5659">
                  <c:v>4719.723</c:v>
                </c:pt>
                <c:pt idx="5660">
                  <c:v>4719.4399999999996</c:v>
                </c:pt>
                <c:pt idx="5661">
                  <c:v>4716.7390000000005</c:v>
                </c:pt>
                <c:pt idx="5662">
                  <c:v>4716.4409999999998</c:v>
                </c:pt>
                <c:pt idx="5663">
                  <c:v>4715.451</c:v>
                </c:pt>
                <c:pt idx="5664">
                  <c:v>4715.201</c:v>
                </c:pt>
                <c:pt idx="5665">
                  <c:v>4714.2170000000015</c:v>
                </c:pt>
                <c:pt idx="5666">
                  <c:v>4713.9210000000003</c:v>
                </c:pt>
                <c:pt idx="5667">
                  <c:v>4713.3420000000024</c:v>
                </c:pt>
                <c:pt idx="5668">
                  <c:v>4712.4650000000001</c:v>
                </c:pt>
                <c:pt idx="5669">
                  <c:v>4711.8290000000034</c:v>
                </c:pt>
                <c:pt idx="5670">
                  <c:v>4711.2779999999975</c:v>
                </c:pt>
                <c:pt idx="5671">
                  <c:v>4710.2940000000008</c:v>
                </c:pt>
                <c:pt idx="5672">
                  <c:v>4709.3640000000014</c:v>
                </c:pt>
                <c:pt idx="5673">
                  <c:v>4709.0420000000004</c:v>
                </c:pt>
                <c:pt idx="5674">
                  <c:v>4708.8359999999993</c:v>
                </c:pt>
                <c:pt idx="5675">
                  <c:v>4707.268</c:v>
                </c:pt>
                <c:pt idx="5676">
                  <c:v>4702.7199999999993</c:v>
                </c:pt>
                <c:pt idx="5677">
                  <c:v>4701.6940000000004</c:v>
                </c:pt>
                <c:pt idx="5678">
                  <c:v>4701.57</c:v>
                </c:pt>
                <c:pt idx="5679">
                  <c:v>4701.018</c:v>
                </c:pt>
                <c:pt idx="5680">
                  <c:v>4693.5810000000001</c:v>
                </c:pt>
                <c:pt idx="5681">
                  <c:v>4691.4779999999992</c:v>
                </c:pt>
                <c:pt idx="5682">
                  <c:v>4688.2150000000001</c:v>
                </c:pt>
                <c:pt idx="5683">
                  <c:v>4687.3230000000003</c:v>
                </c:pt>
                <c:pt idx="5684">
                  <c:v>4686.5420000000004</c:v>
                </c:pt>
                <c:pt idx="5685">
                  <c:v>4684.384</c:v>
                </c:pt>
                <c:pt idx="5686">
                  <c:v>4682.7490000000007</c:v>
                </c:pt>
                <c:pt idx="5687">
                  <c:v>4680.3670000000002</c:v>
                </c:pt>
                <c:pt idx="5688">
                  <c:v>4678.7130000000006</c:v>
                </c:pt>
                <c:pt idx="5689">
                  <c:v>4677.9450000000006</c:v>
                </c:pt>
                <c:pt idx="5690">
                  <c:v>4676.2270000000017</c:v>
                </c:pt>
                <c:pt idx="5691">
                  <c:v>4675.5710000000008</c:v>
                </c:pt>
                <c:pt idx="5692">
                  <c:v>4674.5729999999994</c:v>
                </c:pt>
                <c:pt idx="5693">
                  <c:v>4672.8420000000024</c:v>
                </c:pt>
                <c:pt idx="5694">
                  <c:v>4671.5650000000014</c:v>
                </c:pt>
                <c:pt idx="5695">
                  <c:v>4671.0750000000007</c:v>
                </c:pt>
                <c:pt idx="5696">
                  <c:v>4670.8940000000002</c:v>
                </c:pt>
                <c:pt idx="5697">
                  <c:v>4670.7270000000017</c:v>
                </c:pt>
                <c:pt idx="5698">
                  <c:v>4667.9260000000004</c:v>
                </c:pt>
                <c:pt idx="5699">
                  <c:v>4666.3770000000004</c:v>
                </c:pt>
                <c:pt idx="5700">
                  <c:v>4666.3200000000024</c:v>
                </c:pt>
                <c:pt idx="5701">
                  <c:v>4664.1890000000003</c:v>
                </c:pt>
                <c:pt idx="5702">
                  <c:v>4663.1860000000024</c:v>
                </c:pt>
                <c:pt idx="5703">
                  <c:v>4661.7639999999992</c:v>
                </c:pt>
                <c:pt idx="5704">
                  <c:v>4657.8740000000007</c:v>
                </c:pt>
                <c:pt idx="5705">
                  <c:v>4657.4570000000003</c:v>
                </c:pt>
                <c:pt idx="5706">
                  <c:v>4655.0120000000024</c:v>
                </c:pt>
                <c:pt idx="5707">
                  <c:v>4654.0660000000034</c:v>
                </c:pt>
                <c:pt idx="5708">
                  <c:v>4652.9610000000002</c:v>
                </c:pt>
                <c:pt idx="5709">
                  <c:v>4651.6430000000009</c:v>
                </c:pt>
                <c:pt idx="5710">
                  <c:v>4648.4069999999992</c:v>
                </c:pt>
                <c:pt idx="5711">
                  <c:v>4645.8080000000009</c:v>
                </c:pt>
                <c:pt idx="5712">
                  <c:v>4644.6510000000044</c:v>
                </c:pt>
                <c:pt idx="5713">
                  <c:v>4643.3040000000001</c:v>
                </c:pt>
                <c:pt idx="5714">
                  <c:v>4643.1830000000009</c:v>
                </c:pt>
                <c:pt idx="5715">
                  <c:v>4642.6680000000024</c:v>
                </c:pt>
                <c:pt idx="5716">
                  <c:v>4638.8650000000034</c:v>
                </c:pt>
                <c:pt idx="5717">
                  <c:v>4638.2940000000008</c:v>
                </c:pt>
                <c:pt idx="5718">
                  <c:v>4636.9210000000003</c:v>
                </c:pt>
                <c:pt idx="5719">
                  <c:v>4633.8530000000001</c:v>
                </c:pt>
                <c:pt idx="5720">
                  <c:v>4631.9680000000008</c:v>
                </c:pt>
                <c:pt idx="5721">
                  <c:v>4627.5780000000004</c:v>
                </c:pt>
                <c:pt idx="5722">
                  <c:v>4626.4620000000004</c:v>
                </c:pt>
                <c:pt idx="5723">
                  <c:v>4626.2660000000014</c:v>
                </c:pt>
                <c:pt idx="5724">
                  <c:v>4622.7430000000004</c:v>
                </c:pt>
                <c:pt idx="5725">
                  <c:v>4622.5690000000004</c:v>
                </c:pt>
                <c:pt idx="5726">
                  <c:v>4619.6990000000014</c:v>
                </c:pt>
                <c:pt idx="5727">
                  <c:v>4618.6090000000013</c:v>
                </c:pt>
                <c:pt idx="5728">
                  <c:v>4618.4280000000008</c:v>
                </c:pt>
                <c:pt idx="5729">
                  <c:v>4618.4240000000009</c:v>
                </c:pt>
                <c:pt idx="5730">
                  <c:v>4618.2349999999997</c:v>
                </c:pt>
                <c:pt idx="5731">
                  <c:v>4618.1820000000034</c:v>
                </c:pt>
                <c:pt idx="5732">
                  <c:v>4617.72</c:v>
                </c:pt>
                <c:pt idx="5733">
                  <c:v>4616.7930000000006</c:v>
                </c:pt>
                <c:pt idx="5734">
                  <c:v>4616.3240000000014</c:v>
                </c:pt>
                <c:pt idx="5735">
                  <c:v>4614.5960000000014</c:v>
                </c:pt>
                <c:pt idx="5736">
                  <c:v>4614.2970000000005</c:v>
                </c:pt>
                <c:pt idx="5737">
                  <c:v>4609.7779999999975</c:v>
                </c:pt>
                <c:pt idx="5738">
                  <c:v>4606.6040000000003</c:v>
                </c:pt>
                <c:pt idx="5739">
                  <c:v>4606.3940000000002</c:v>
                </c:pt>
                <c:pt idx="5740">
                  <c:v>4602.6190000000024</c:v>
                </c:pt>
                <c:pt idx="5741">
                  <c:v>4601.634</c:v>
                </c:pt>
                <c:pt idx="5742">
                  <c:v>4601.3820000000014</c:v>
                </c:pt>
                <c:pt idx="5743">
                  <c:v>4601.1000000000004</c:v>
                </c:pt>
                <c:pt idx="5744">
                  <c:v>4600.3809999999994</c:v>
                </c:pt>
                <c:pt idx="5745">
                  <c:v>4600.1350000000002</c:v>
                </c:pt>
                <c:pt idx="5746">
                  <c:v>4598.0930000000008</c:v>
                </c:pt>
                <c:pt idx="5747">
                  <c:v>4597.732</c:v>
                </c:pt>
                <c:pt idx="5748">
                  <c:v>4597.4810000000007</c:v>
                </c:pt>
                <c:pt idx="5749">
                  <c:v>4591.7829999999994</c:v>
                </c:pt>
                <c:pt idx="5750">
                  <c:v>4591.6830000000009</c:v>
                </c:pt>
                <c:pt idx="5751">
                  <c:v>4591.6530000000002</c:v>
                </c:pt>
                <c:pt idx="5752">
                  <c:v>4591.4859999999999</c:v>
                </c:pt>
                <c:pt idx="5753">
                  <c:v>4591.259</c:v>
                </c:pt>
                <c:pt idx="5754">
                  <c:v>4590.7369999999992</c:v>
                </c:pt>
                <c:pt idx="5755">
                  <c:v>4590.5870000000004</c:v>
                </c:pt>
                <c:pt idx="5756">
                  <c:v>4589.2870000000003</c:v>
                </c:pt>
                <c:pt idx="5757">
                  <c:v>4583.1810000000014</c:v>
                </c:pt>
                <c:pt idx="5758">
                  <c:v>4582.4670000000015</c:v>
                </c:pt>
                <c:pt idx="5759">
                  <c:v>4582.1930000000011</c:v>
                </c:pt>
                <c:pt idx="5760">
                  <c:v>4580.8140000000003</c:v>
                </c:pt>
                <c:pt idx="5761">
                  <c:v>4580.4890000000005</c:v>
                </c:pt>
                <c:pt idx="5762">
                  <c:v>4578.6080000000002</c:v>
                </c:pt>
                <c:pt idx="5763">
                  <c:v>4577.4069999999992</c:v>
                </c:pt>
                <c:pt idx="5764">
                  <c:v>4576.24</c:v>
                </c:pt>
                <c:pt idx="5765">
                  <c:v>4575.4769999999999</c:v>
                </c:pt>
                <c:pt idx="5766">
                  <c:v>4575.3989999999994</c:v>
                </c:pt>
                <c:pt idx="5767">
                  <c:v>4574.8960000000034</c:v>
                </c:pt>
                <c:pt idx="5768">
                  <c:v>4574.4839999999995</c:v>
                </c:pt>
                <c:pt idx="5769">
                  <c:v>4573.8210000000054</c:v>
                </c:pt>
                <c:pt idx="5770">
                  <c:v>4572.3270000000002</c:v>
                </c:pt>
                <c:pt idx="5771">
                  <c:v>4571.741</c:v>
                </c:pt>
                <c:pt idx="5772">
                  <c:v>4570.8420000000024</c:v>
                </c:pt>
                <c:pt idx="5773">
                  <c:v>4569.9429999999993</c:v>
                </c:pt>
                <c:pt idx="5774">
                  <c:v>4569.7469999999994</c:v>
                </c:pt>
                <c:pt idx="5775">
                  <c:v>4568.442</c:v>
                </c:pt>
                <c:pt idx="5776">
                  <c:v>4568.26</c:v>
                </c:pt>
                <c:pt idx="5777">
                  <c:v>4565.6180000000004</c:v>
                </c:pt>
                <c:pt idx="5778">
                  <c:v>4563.7750000000005</c:v>
                </c:pt>
                <c:pt idx="5779">
                  <c:v>4563.59</c:v>
                </c:pt>
                <c:pt idx="5780">
                  <c:v>4562.4010000000007</c:v>
                </c:pt>
                <c:pt idx="5781">
                  <c:v>4561.6460000000034</c:v>
                </c:pt>
                <c:pt idx="5782">
                  <c:v>4558.2310000000007</c:v>
                </c:pt>
                <c:pt idx="5783">
                  <c:v>4556.3320000000003</c:v>
                </c:pt>
                <c:pt idx="5784">
                  <c:v>4551.7280000000001</c:v>
                </c:pt>
                <c:pt idx="5785">
                  <c:v>4551.6120000000055</c:v>
                </c:pt>
                <c:pt idx="5786">
                  <c:v>4549.4779999999992</c:v>
                </c:pt>
                <c:pt idx="5787">
                  <c:v>4547.4930000000004</c:v>
                </c:pt>
                <c:pt idx="5788">
                  <c:v>4547.3060000000014</c:v>
                </c:pt>
                <c:pt idx="5789">
                  <c:v>4546.7520000000004</c:v>
                </c:pt>
                <c:pt idx="5790">
                  <c:v>4545.7930000000006</c:v>
                </c:pt>
                <c:pt idx="5791">
                  <c:v>4545.643</c:v>
                </c:pt>
                <c:pt idx="5792">
                  <c:v>4544.6610000000055</c:v>
                </c:pt>
                <c:pt idx="5793">
                  <c:v>4544.4710000000005</c:v>
                </c:pt>
                <c:pt idx="5794">
                  <c:v>4543.76</c:v>
                </c:pt>
                <c:pt idx="5795">
                  <c:v>4543.6170000000002</c:v>
                </c:pt>
                <c:pt idx="5796">
                  <c:v>4543.4479999999985</c:v>
                </c:pt>
                <c:pt idx="5797">
                  <c:v>4543.268</c:v>
                </c:pt>
                <c:pt idx="5798">
                  <c:v>4541.308</c:v>
                </c:pt>
                <c:pt idx="5799">
                  <c:v>4539.5200000000004</c:v>
                </c:pt>
                <c:pt idx="5800">
                  <c:v>4539.1630000000014</c:v>
                </c:pt>
                <c:pt idx="5801">
                  <c:v>4538.3990000000003</c:v>
                </c:pt>
                <c:pt idx="5802">
                  <c:v>4536.5329999999994</c:v>
                </c:pt>
                <c:pt idx="5803">
                  <c:v>4534.83</c:v>
                </c:pt>
                <c:pt idx="5804">
                  <c:v>4534.027</c:v>
                </c:pt>
                <c:pt idx="5805">
                  <c:v>4531.3190000000004</c:v>
                </c:pt>
                <c:pt idx="5806">
                  <c:v>4528.8290000000034</c:v>
                </c:pt>
                <c:pt idx="5807">
                  <c:v>4528.3690000000024</c:v>
                </c:pt>
                <c:pt idx="5808">
                  <c:v>4528.094000000001</c:v>
                </c:pt>
                <c:pt idx="5809">
                  <c:v>4527.9230000000016</c:v>
                </c:pt>
                <c:pt idx="5810">
                  <c:v>4526.7650000000003</c:v>
                </c:pt>
                <c:pt idx="5811">
                  <c:v>4526.348</c:v>
                </c:pt>
                <c:pt idx="5812">
                  <c:v>4522.5300000000007</c:v>
                </c:pt>
                <c:pt idx="5813">
                  <c:v>4522.4969999999994</c:v>
                </c:pt>
                <c:pt idx="5814">
                  <c:v>4517.777</c:v>
                </c:pt>
                <c:pt idx="5815">
                  <c:v>4516.37</c:v>
                </c:pt>
                <c:pt idx="5816">
                  <c:v>4511.9710000000005</c:v>
                </c:pt>
                <c:pt idx="5817">
                  <c:v>4508.8310000000001</c:v>
                </c:pt>
                <c:pt idx="5818">
                  <c:v>4507.4660000000003</c:v>
                </c:pt>
                <c:pt idx="5819">
                  <c:v>4506.24</c:v>
                </c:pt>
                <c:pt idx="5820">
                  <c:v>4502.0070000000005</c:v>
                </c:pt>
                <c:pt idx="5821">
                  <c:v>4501.95</c:v>
                </c:pt>
                <c:pt idx="5822">
                  <c:v>4500.6370000000015</c:v>
                </c:pt>
                <c:pt idx="5823">
                  <c:v>4499.8310000000001</c:v>
                </c:pt>
                <c:pt idx="5824">
                  <c:v>4499.0060000000003</c:v>
                </c:pt>
                <c:pt idx="5825">
                  <c:v>4498.991</c:v>
                </c:pt>
                <c:pt idx="5826">
                  <c:v>4498.91</c:v>
                </c:pt>
                <c:pt idx="5827">
                  <c:v>4498.3850000000002</c:v>
                </c:pt>
                <c:pt idx="5828">
                  <c:v>4494.8320000000003</c:v>
                </c:pt>
                <c:pt idx="5829">
                  <c:v>4492.4450000000006</c:v>
                </c:pt>
                <c:pt idx="5830">
                  <c:v>4487.3720000000003</c:v>
                </c:pt>
                <c:pt idx="5831">
                  <c:v>4485.0610000000024</c:v>
                </c:pt>
                <c:pt idx="5832">
                  <c:v>4482.9180000000006</c:v>
                </c:pt>
                <c:pt idx="5833">
                  <c:v>4482.4640000000009</c:v>
                </c:pt>
                <c:pt idx="5834">
                  <c:v>4481.8320000000003</c:v>
                </c:pt>
                <c:pt idx="5835">
                  <c:v>4480.9969999999994</c:v>
                </c:pt>
                <c:pt idx="5836">
                  <c:v>4480.4927229999994</c:v>
                </c:pt>
                <c:pt idx="5837">
                  <c:v>4480.1040000000003</c:v>
                </c:pt>
                <c:pt idx="5838">
                  <c:v>4479.9720000000007</c:v>
                </c:pt>
                <c:pt idx="5839">
                  <c:v>4478.9220000000014</c:v>
                </c:pt>
                <c:pt idx="5840">
                  <c:v>4478.5779999999995</c:v>
                </c:pt>
                <c:pt idx="5841">
                  <c:v>4477.0250000000024</c:v>
                </c:pt>
                <c:pt idx="5842">
                  <c:v>4475.84</c:v>
                </c:pt>
                <c:pt idx="5843">
                  <c:v>4473.5080000000007</c:v>
                </c:pt>
                <c:pt idx="5844">
                  <c:v>4473.22</c:v>
                </c:pt>
                <c:pt idx="5845">
                  <c:v>4470.0130000000008</c:v>
                </c:pt>
                <c:pt idx="5846">
                  <c:v>4469.6210000000056</c:v>
                </c:pt>
                <c:pt idx="5847">
                  <c:v>4469.5660000000034</c:v>
                </c:pt>
                <c:pt idx="5848">
                  <c:v>4469.0190000000002</c:v>
                </c:pt>
                <c:pt idx="5849">
                  <c:v>4467.45</c:v>
                </c:pt>
                <c:pt idx="5850">
                  <c:v>4467.4069999999992</c:v>
                </c:pt>
                <c:pt idx="5851">
                  <c:v>4467.3380000000006</c:v>
                </c:pt>
                <c:pt idx="5852">
                  <c:v>4465.6320000000014</c:v>
                </c:pt>
                <c:pt idx="5853">
                  <c:v>4463.0946670000003</c:v>
                </c:pt>
                <c:pt idx="5854">
                  <c:v>4462.1610000000064</c:v>
                </c:pt>
                <c:pt idx="5855">
                  <c:v>4460.7110000000002</c:v>
                </c:pt>
                <c:pt idx="5856">
                  <c:v>4460.6985000000004</c:v>
                </c:pt>
                <c:pt idx="5857">
                  <c:v>4459.4110000000001</c:v>
                </c:pt>
                <c:pt idx="5858">
                  <c:v>4457.4620000000004</c:v>
                </c:pt>
                <c:pt idx="5859">
                  <c:v>4456.4650000000001</c:v>
                </c:pt>
                <c:pt idx="5860">
                  <c:v>4456.26</c:v>
                </c:pt>
                <c:pt idx="5861">
                  <c:v>4454.7339999999995</c:v>
                </c:pt>
                <c:pt idx="5862">
                  <c:v>4454.6690000000044</c:v>
                </c:pt>
                <c:pt idx="5863">
                  <c:v>4451.6790000000001</c:v>
                </c:pt>
                <c:pt idx="5864">
                  <c:v>4450.1590000000024</c:v>
                </c:pt>
                <c:pt idx="5865">
                  <c:v>4447.5120000000024</c:v>
                </c:pt>
                <c:pt idx="5866">
                  <c:v>4447.3039439999993</c:v>
                </c:pt>
                <c:pt idx="5867">
                  <c:v>4447.0890000000009</c:v>
                </c:pt>
                <c:pt idx="5868">
                  <c:v>4444.7950000000001</c:v>
                </c:pt>
                <c:pt idx="5869">
                  <c:v>4441.7979999999998</c:v>
                </c:pt>
                <c:pt idx="5870">
                  <c:v>4438.0190000000002</c:v>
                </c:pt>
                <c:pt idx="5871">
                  <c:v>4437.9789999999994</c:v>
                </c:pt>
                <c:pt idx="5872">
                  <c:v>4436.6150000000034</c:v>
                </c:pt>
                <c:pt idx="5873">
                  <c:v>4435.7230000000009</c:v>
                </c:pt>
                <c:pt idx="5874">
                  <c:v>4434.3380000000006</c:v>
                </c:pt>
                <c:pt idx="5875">
                  <c:v>4433.7490000000007</c:v>
                </c:pt>
                <c:pt idx="5876">
                  <c:v>4431.1280000000024</c:v>
                </c:pt>
                <c:pt idx="5877">
                  <c:v>4431.1070000000009</c:v>
                </c:pt>
                <c:pt idx="5878">
                  <c:v>4430.5329999999994</c:v>
                </c:pt>
                <c:pt idx="5879">
                  <c:v>4430.3230000000003</c:v>
                </c:pt>
                <c:pt idx="5880">
                  <c:v>4430.1390000000001</c:v>
                </c:pt>
                <c:pt idx="5881">
                  <c:v>4428.277</c:v>
                </c:pt>
                <c:pt idx="5882">
                  <c:v>4427.1379999999999</c:v>
                </c:pt>
                <c:pt idx="5883">
                  <c:v>4426.0600000000004</c:v>
                </c:pt>
                <c:pt idx="5884">
                  <c:v>4424.0200000000004</c:v>
                </c:pt>
                <c:pt idx="5885">
                  <c:v>4422.5839999999998</c:v>
                </c:pt>
                <c:pt idx="5886">
                  <c:v>4422.4160000000002</c:v>
                </c:pt>
                <c:pt idx="5887">
                  <c:v>4421.4690000000001</c:v>
                </c:pt>
                <c:pt idx="5888">
                  <c:v>4421.1310000000003</c:v>
                </c:pt>
                <c:pt idx="5889">
                  <c:v>4420.8879999999999</c:v>
                </c:pt>
                <c:pt idx="5890">
                  <c:v>4419.68</c:v>
                </c:pt>
                <c:pt idx="5891">
                  <c:v>4416.1910000000034</c:v>
                </c:pt>
                <c:pt idx="5892">
                  <c:v>4414.2710000000006</c:v>
                </c:pt>
                <c:pt idx="5893">
                  <c:v>4412.701</c:v>
                </c:pt>
                <c:pt idx="5894">
                  <c:v>4409.8089999999993</c:v>
                </c:pt>
                <c:pt idx="5895">
                  <c:v>4409.8070000000007</c:v>
                </c:pt>
                <c:pt idx="5896">
                  <c:v>4409.1660000000056</c:v>
                </c:pt>
                <c:pt idx="5897">
                  <c:v>4408.9050000000007</c:v>
                </c:pt>
                <c:pt idx="5898">
                  <c:v>4408.5450000000001</c:v>
                </c:pt>
                <c:pt idx="5899">
                  <c:v>4407.7100000000009</c:v>
                </c:pt>
                <c:pt idx="5900">
                  <c:v>4405.9110000000001</c:v>
                </c:pt>
                <c:pt idx="5901">
                  <c:v>4404.3540000000003</c:v>
                </c:pt>
                <c:pt idx="5902">
                  <c:v>4404.103000000001</c:v>
                </c:pt>
                <c:pt idx="5903">
                  <c:v>4403.7270000000017</c:v>
                </c:pt>
                <c:pt idx="5904">
                  <c:v>4403.4360000000006</c:v>
                </c:pt>
                <c:pt idx="5905">
                  <c:v>4403.1450000000013</c:v>
                </c:pt>
                <c:pt idx="5906">
                  <c:v>4403.1000000000004</c:v>
                </c:pt>
                <c:pt idx="5907">
                  <c:v>4401.6770000000006</c:v>
                </c:pt>
                <c:pt idx="5908">
                  <c:v>4401.0830000000005</c:v>
                </c:pt>
                <c:pt idx="5909">
                  <c:v>4400.6100000000024</c:v>
                </c:pt>
                <c:pt idx="5910">
                  <c:v>4399.6760000000004</c:v>
                </c:pt>
                <c:pt idx="5911">
                  <c:v>4399.4720000000007</c:v>
                </c:pt>
                <c:pt idx="5912">
                  <c:v>4399.2490000000007</c:v>
                </c:pt>
                <c:pt idx="5913">
                  <c:v>4398.6540000000014</c:v>
                </c:pt>
                <c:pt idx="5914">
                  <c:v>4398.5200000000004</c:v>
                </c:pt>
                <c:pt idx="5915">
                  <c:v>4398.2390000000005</c:v>
                </c:pt>
                <c:pt idx="5916">
                  <c:v>4395.5329999999994</c:v>
                </c:pt>
                <c:pt idx="5917">
                  <c:v>4393.7850000000008</c:v>
                </c:pt>
                <c:pt idx="5918">
                  <c:v>4393.2819999999992</c:v>
                </c:pt>
                <c:pt idx="5919">
                  <c:v>4392.1420000000044</c:v>
                </c:pt>
                <c:pt idx="5920">
                  <c:v>4391.9270000000006</c:v>
                </c:pt>
                <c:pt idx="5921">
                  <c:v>4391.4290000000001</c:v>
                </c:pt>
                <c:pt idx="5922">
                  <c:v>4391.1180000000004</c:v>
                </c:pt>
                <c:pt idx="5923">
                  <c:v>4390.3330000000005</c:v>
                </c:pt>
                <c:pt idx="5924">
                  <c:v>4389.1020000000044</c:v>
                </c:pt>
                <c:pt idx="5925">
                  <c:v>4389.0110000000004</c:v>
                </c:pt>
                <c:pt idx="5926">
                  <c:v>4387.0309999999999</c:v>
                </c:pt>
                <c:pt idx="5927">
                  <c:v>4385.5130000000017</c:v>
                </c:pt>
                <c:pt idx="5928">
                  <c:v>4384.469000000001</c:v>
                </c:pt>
                <c:pt idx="5929">
                  <c:v>4383.6910000000034</c:v>
                </c:pt>
                <c:pt idx="5930">
                  <c:v>4382.174</c:v>
                </c:pt>
                <c:pt idx="5931">
                  <c:v>4381.6370000000006</c:v>
                </c:pt>
                <c:pt idx="5932">
                  <c:v>4379.8550000000014</c:v>
                </c:pt>
                <c:pt idx="5933">
                  <c:v>4378.7310000000007</c:v>
                </c:pt>
                <c:pt idx="5934">
                  <c:v>4378.6140000000014</c:v>
                </c:pt>
                <c:pt idx="5935">
                  <c:v>4378.5729999999994</c:v>
                </c:pt>
                <c:pt idx="5936">
                  <c:v>4377.7580000000007</c:v>
                </c:pt>
                <c:pt idx="5937">
                  <c:v>4377.2330000000002</c:v>
                </c:pt>
                <c:pt idx="5938">
                  <c:v>4376.0880000000006</c:v>
                </c:pt>
                <c:pt idx="5939">
                  <c:v>4375.777</c:v>
                </c:pt>
                <c:pt idx="5940">
                  <c:v>4373.8980000000001</c:v>
                </c:pt>
                <c:pt idx="5941">
                  <c:v>4371.6290000000054</c:v>
                </c:pt>
                <c:pt idx="5942">
                  <c:v>4370.3650000000034</c:v>
                </c:pt>
                <c:pt idx="5943">
                  <c:v>4367.7469999999994</c:v>
                </c:pt>
                <c:pt idx="5944">
                  <c:v>4367.1460000000034</c:v>
                </c:pt>
                <c:pt idx="5945">
                  <c:v>4365.3730000000005</c:v>
                </c:pt>
                <c:pt idx="5946">
                  <c:v>4365.1810000000014</c:v>
                </c:pt>
                <c:pt idx="5947">
                  <c:v>4365.0920000000024</c:v>
                </c:pt>
                <c:pt idx="5948">
                  <c:v>4363.277</c:v>
                </c:pt>
                <c:pt idx="5949">
                  <c:v>4362.472999999999</c:v>
                </c:pt>
                <c:pt idx="5950">
                  <c:v>4361.0980000000009</c:v>
                </c:pt>
                <c:pt idx="5951">
                  <c:v>4360.3150000000014</c:v>
                </c:pt>
                <c:pt idx="5952">
                  <c:v>4359.7240000000002</c:v>
                </c:pt>
                <c:pt idx="5953">
                  <c:v>4358.8980000000001</c:v>
                </c:pt>
                <c:pt idx="5954">
                  <c:v>4357.683</c:v>
                </c:pt>
                <c:pt idx="5955">
                  <c:v>4353.8910000000014</c:v>
                </c:pt>
                <c:pt idx="5956">
                  <c:v>4349.7920000000004</c:v>
                </c:pt>
                <c:pt idx="5957">
                  <c:v>4348.7050000000008</c:v>
                </c:pt>
                <c:pt idx="5958">
                  <c:v>4348.134</c:v>
                </c:pt>
                <c:pt idx="5959">
                  <c:v>4343.143</c:v>
                </c:pt>
                <c:pt idx="5960">
                  <c:v>4342.3710000000001</c:v>
                </c:pt>
                <c:pt idx="5961">
                  <c:v>4341.3270000000002</c:v>
                </c:pt>
                <c:pt idx="5962">
                  <c:v>4339.2300000000005</c:v>
                </c:pt>
                <c:pt idx="5963">
                  <c:v>4339.0240000000003</c:v>
                </c:pt>
                <c:pt idx="5964">
                  <c:v>4337.7300000000005</c:v>
                </c:pt>
                <c:pt idx="5965">
                  <c:v>4337.3789999999999</c:v>
                </c:pt>
                <c:pt idx="5966">
                  <c:v>4335.2420000000002</c:v>
                </c:pt>
                <c:pt idx="5967">
                  <c:v>4334.3070000000007</c:v>
                </c:pt>
                <c:pt idx="5968">
                  <c:v>4334.2050000000008</c:v>
                </c:pt>
                <c:pt idx="5969">
                  <c:v>4332.4040000000005</c:v>
                </c:pt>
                <c:pt idx="5970">
                  <c:v>4332.1260000000057</c:v>
                </c:pt>
                <c:pt idx="5971">
                  <c:v>4331.8660000000054</c:v>
                </c:pt>
                <c:pt idx="5972">
                  <c:v>4330.6600000000044</c:v>
                </c:pt>
                <c:pt idx="5973">
                  <c:v>4330.4749999999995</c:v>
                </c:pt>
                <c:pt idx="5974">
                  <c:v>4329.6760000000004</c:v>
                </c:pt>
                <c:pt idx="5975">
                  <c:v>4329.6450000000004</c:v>
                </c:pt>
                <c:pt idx="5976">
                  <c:v>4327.4800000000005</c:v>
                </c:pt>
                <c:pt idx="5977">
                  <c:v>4326.5810000000001</c:v>
                </c:pt>
                <c:pt idx="5978">
                  <c:v>4324.4580000000005</c:v>
                </c:pt>
                <c:pt idx="5979">
                  <c:v>4323.4530000000004</c:v>
                </c:pt>
                <c:pt idx="5980">
                  <c:v>4322.2739999999994</c:v>
                </c:pt>
                <c:pt idx="5981">
                  <c:v>4322.2260000000024</c:v>
                </c:pt>
                <c:pt idx="5982">
                  <c:v>4322.0010000000002</c:v>
                </c:pt>
                <c:pt idx="5983">
                  <c:v>4321.9230000000007</c:v>
                </c:pt>
                <c:pt idx="5984">
                  <c:v>4320.4069999999992</c:v>
                </c:pt>
                <c:pt idx="5985">
                  <c:v>4320.2480000000005</c:v>
                </c:pt>
                <c:pt idx="5986">
                  <c:v>4315.8380000000006</c:v>
                </c:pt>
                <c:pt idx="5987">
                  <c:v>4314.1060000000034</c:v>
                </c:pt>
                <c:pt idx="5988">
                  <c:v>4313.9570000000003</c:v>
                </c:pt>
                <c:pt idx="5989">
                  <c:v>4311.9250000000002</c:v>
                </c:pt>
                <c:pt idx="5990">
                  <c:v>4310.3900000000003</c:v>
                </c:pt>
                <c:pt idx="5991">
                  <c:v>4308.9090000000006</c:v>
                </c:pt>
                <c:pt idx="5992">
                  <c:v>4308.9090000000006</c:v>
                </c:pt>
                <c:pt idx="5993">
                  <c:v>4307.5650000000014</c:v>
                </c:pt>
                <c:pt idx="5994">
                  <c:v>4306.7889999999998</c:v>
                </c:pt>
                <c:pt idx="5995">
                  <c:v>4306.3310000000001</c:v>
                </c:pt>
                <c:pt idx="5996">
                  <c:v>4306.2800000000007</c:v>
                </c:pt>
                <c:pt idx="5997">
                  <c:v>4304.5280000000002</c:v>
                </c:pt>
                <c:pt idx="5998">
                  <c:v>4303.4890000000005</c:v>
                </c:pt>
                <c:pt idx="5999">
                  <c:v>4302.1440000000002</c:v>
                </c:pt>
                <c:pt idx="6000">
                  <c:v>4298.9869999999992</c:v>
                </c:pt>
                <c:pt idx="6001">
                  <c:v>4297.5830000000005</c:v>
                </c:pt>
                <c:pt idx="6002">
                  <c:v>4296.3060000000014</c:v>
                </c:pt>
                <c:pt idx="6003">
                  <c:v>4295.5280000000002</c:v>
                </c:pt>
                <c:pt idx="6004">
                  <c:v>4294.893</c:v>
                </c:pt>
                <c:pt idx="6005">
                  <c:v>4294.5369999999994</c:v>
                </c:pt>
                <c:pt idx="6006">
                  <c:v>4294.4379999999965</c:v>
                </c:pt>
                <c:pt idx="6007">
                  <c:v>4293.3380000000006</c:v>
                </c:pt>
                <c:pt idx="6008">
                  <c:v>4291.6950000000024</c:v>
                </c:pt>
                <c:pt idx="6009">
                  <c:v>4291.6370000000015</c:v>
                </c:pt>
                <c:pt idx="6010">
                  <c:v>4290.973</c:v>
                </c:pt>
                <c:pt idx="6011">
                  <c:v>4290.9710000000005</c:v>
                </c:pt>
                <c:pt idx="6012">
                  <c:v>4289.9640000000009</c:v>
                </c:pt>
                <c:pt idx="6013">
                  <c:v>4288.8900000000003</c:v>
                </c:pt>
                <c:pt idx="6014">
                  <c:v>4286.9949999999999</c:v>
                </c:pt>
                <c:pt idx="6015">
                  <c:v>4285.9450000000006</c:v>
                </c:pt>
                <c:pt idx="6016">
                  <c:v>4283.1850000000004</c:v>
                </c:pt>
                <c:pt idx="6017">
                  <c:v>4282.7089999999998</c:v>
                </c:pt>
                <c:pt idx="6018">
                  <c:v>4280.2640000000001</c:v>
                </c:pt>
                <c:pt idx="6019">
                  <c:v>4277.8134450000007</c:v>
                </c:pt>
                <c:pt idx="6020">
                  <c:v>4276.5960000000014</c:v>
                </c:pt>
                <c:pt idx="6021">
                  <c:v>4275.7870000000003</c:v>
                </c:pt>
                <c:pt idx="6022">
                  <c:v>4274.6210000000056</c:v>
                </c:pt>
                <c:pt idx="6023">
                  <c:v>4274.5370000000003</c:v>
                </c:pt>
                <c:pt idx="6024">
                  <c:v>4272.7460000000001</c:v>
                </c:pt>
                <c:pt idx="6025">
                  <c:v>4272.5620000000044</c:v>
                </c:pt>
                <c:pt idx="6026">
                  <c:v>4269.6210000000056</c:v>
                </c:pt>
                <c:pt idx="6027">
                  <c:v>4266.4120000000003</c:v>
                </c:pt>
                <c:pt idx="6028">
                  <c:v>4265.371000000001</c:v>
                </c:pt>
                <c:pt idx="6029">
                  <c:v>4264.4329999999991</c:v>
                </c:pt>
                <c:pt idx="6030">
                  <c:v>4263.9540000000006</c:v>
                </c:pt>
                <c:pt idx="6031">
                  <c:v>4261.45</c:v>
                </c:pt>
                <c:pt idx="6032">
                  <c:v>4258.8089999999993</c:v>
                </c:pt>
                <c:pt idx="6033">
                  <c:v>4258.3040000000001</c:v>
                </c:pt>
                <c:pt idx="6034">
                  <c:v>4254.2670000000007</c:v>
                </c:pt>
                <c:pt idx="6035">
                  <c:v>4252.8769999999995</c:v>
                </c:pt>
                <c:pt idx="6036">
                  <c:v>4252.8710000000001</c:v>
                </c:pt>
                <c:pt idx="6037">
                  <c:v>4252.067</c:v>
                </c:pt>
                <c:pt idx="6038">
                  <c:v>4247.9040000000005</c:v>
                </c:pt>
                <c:pt idx="6039">
                  <c:v>4247.2490000000007</c:v>
                </c:pt>
                <c:pt idx="6040">
                  <c:v>4242.6290000000054</c:v>
                </c:pt>
                <c:pt idx="6041">
                  <c:v>4242.5150000000003</c:v>
                </c:pt>
                <c:pt idx="6042">
                  <c:v>4242.2630000000017</c:v>
                </c:pt>
                <c:pt idx="6043">
                  <c:v>4241.53</c:v>
                </c:pt>
                <c:pt idx="6044">
                  <c:v>4239.5830000000005</c:v>
                </c:pt>
                <c:pt idx="6045">
                  <c:v>4238.9650000000001</c:v>
                </c:pt>
                <c:pt idx="6046">
                  <c:v>4238.6680000000024</c:v>
                </c:pt>
                <c:pt idx="6047">
                  <c:v>4235.1640000000034</c:v>
                </c:pt>
                <c:pt idx="6048">
                  <c:v>4232.33</c:v>
                </c:pt>
                <c:pt idx="6049">
                  <c:v>4227.8050000000003</c:v>
                </c:pt>
                <c:pt idx="6050">
                  <c:v>4226.884</c:v>
                </c:pt>
                <c:pt idx="6051">
                  <c:v>4226.7970000000005</c:v>
                </c:pt>
                <c:pt idx="6052">
                  <c:v>4225.5840000000007</c:v>
                </c:pt>
                <c:pt idx="6053">
                  <c:v>4224.5640000000003</c:v>
                </c:pt>
                <c:pt idx="6054">
                  <c:v>4224.5470000000005</c:v>
                </c:pt>
                <c:pt idx="6055">
                  <c:v>4224.2130000000006</c:v>
                </c:pt>
                <c:pt idx="6056">
                  <c:v>4223.2970000000005</c:v>
                </c:pt>
                <c:pt idx="6057">
                  <c:v>4222.5080000000007</c:v>
                </c:pt>
                <c:pt idx="6058">
                  <c:v>4217.0830000000005</c:v>
                </c:pt>
                <c:pt idx="6059">
                  <c:v>4216.92</c:v>
                </c:pt>
                <c:pt idx="6060">
                  <c:v>4216.0650000000014</c:v>
                </c:pt>
                <c:pt idx="6061">
                  <c:v>4213.8970000000008</c:v>
                </c:pt>
                <c:pt idx="6062">
                  <c:v>4212.442</c:v>
                </c:pt>
                <c:pt idx="6063">
                  <c:v>4211.1850000000004</c:v>
                </c:pt>
                <c:pt idx="6064">
                  <c:v>4210.2860000000001</c:v>
                </c:pt>
                <c:pt idx="6065">
                  <c:v>4209.9039999999995</c:v>
                </c:pt>
                <c:pt idx="6066">
                  <c:v>4208.9180000000006</c:v>
                </c:pt>
                <c:pt idx="6067">
                  <c:v>4205.9470000000001</c:v>
                </c:pt>
                <c:pt idx="6068">
                  <c:v>4204.8870000000015</c:v>
                </c:pt>
                <c:pt idx="6069">
                  <c:v>4202.49</c:v>
                </c:pt>
                <c:pt idx="6070">
                  <c:v>4201.9640000000009</c:v>
                </c:pt>
                <c:pt idx="6071">
                  <c:v>4200.0570000000016</c:v>
                </c:pt>
                <c:pt idx="6072">
                  <c:v>4200.0160000000014</c:v>
                </c:pt>
                <c:pt idx="6073">
                  <c:v>4199.8450000000003</c:v>
                </c:pt>
                <c:pt idx="6074">
                  <c:v>4198.7210000000014</c:v>
                </c:pt>
                <c:pt idx="6075">
                  <c:v>4198.42</c:v>
                </c:pt>
                <c:pt idx="6076">
                  <c:v>4197.9049999999997</c:v>
                </c:pt>
                <c:pt idx="6077">
                  <c:v>4193.3020000000024</c:v>
                </c:pt>
                <c:pt idx="6078">
                  <c:v>4192.6640000000034</c:v>
                </c:pt>
                <c:pt idx="6079">
                  <c:v>4191.0820000000003</c:v>
                </c:pt>
                <c:pt idx="6080">
                  <c:v>4190.9120000000003</c:v>
                </c:pt>
                <c:pt idx="6081">
                  <c:v>4189.8390000000009</c:v>
                </c:pt>
                <c:pt idx="6082">
                  <c:v>4187.058</c:v>
                </c:pt>
                <c:pt idx="6083">
                  <c:v>4186.3280000000004</c:v>
                </c:pt>
                <c:pt idx="6084">
                  <c:v>4181.1820000000034</c:v>
                </c:pt>
                <c:pt idx="6085">
                  <c:v>4180.3970000000018</c:v>
                </c:pt>
                <c:pt idx="6086">
                  <c:v>4178.875</c:v>
                </c:pt>
                <c:pt idx="6087">
                  <c:v>4178.1330000000007</c:v>
                </c:pt>
                <c:pt idx="6088">
                  <c:v>4177.4399999999996</c:v>
                </c:pt>
                <c:pt idx="6089">
                  <c:v>4176.8610000000044</c:v>
                </c:pt>
                <c:pt idx="6090">
                  <c:v>4176.1230000000023</c:v>
                </c:pt>
                <c:pt idx="6091">
                  <c:v>4175.2469999999994</c:v>
                </c:pt>
                <c:pt idx="6092">
                  <c:v>4175.13</c:v>
                </c:pt>
                <c:pt idx="6093">
                  <c:v>4174.4130000000005</c:v>
                </c:pt>
                <c:pt idx="6094">
                  <c:v>4173.5350000000008</c:v>
                </c:pt>
                <c:pt idx="6095">
                  <c:v>4172.4090000000006</c:v>
                </c:pt>
                <c:pt idx="6096">
                  <c:v>4171.2260000000024</c:v>
                </c:pt>
                <c:pt idx="6097">
                  <c:v>4169.6510000000044</c:v>
                </c:pt>
                <c:pt idx="6098">
                  <c:v>4166.6680000000024</c:v>
                </c:pt>
                <c:pt idx="6099">
                  <c:v>4166.5610000000024</c:v>
                </c:pt>
                <c:pt idx="6100">
                  <c:v>4166.0970000000007</c:v>
                </c:pt>
                <c:pt idx="6101">
                  <c:v>4162.741</c:v>
                </c:pt>
                <c:pt idx="6102">
                  <c:v>4158.7210000000014</c:v>
                </c:pt>
                <c:pt idx="6103">
                  <c:v>4157.3140000000003</c:v>
                </c:pt>
                <c:pt idx="6104">
                  <c:v>4156.5600000000004</c:v>
                </c:pt>
                <c:pt idx="6105">
                  <c:v>4154.884</c:v>
                </c:pt>
                <c:pt idx="6106">
                  <c:v>4153.8180000000002</c:v>
                </c:pt>
                <c:pt idx="6107">
                  <c:v>4152.5450000000001</c:v>
                </c:pt>
                <c:pt idx="6108">
                  <c:v>4152.2850000000008</c:v>
                </c:pt>
                <c:pt idx="6109">
                  <c:v>4151.5940000000001</c:v>
                </c:pt>
                <c:pt idx="6110">
                  <c:v>4150.3430000000017</c:v>
                </c:pt>
                <c:pt idx="6111">
                  <c:v>4149.9350000000004</c:v>
                </c:pt>
                <c:pt idx="6112">
                  <c:v>4147.1400000000003</c:v>
                </c:pt>
                <c:pt idx="6113">
                  <c:v>4145.509</c:v>
                </c:pt>
                <c:pt idx="6114">
                  <c:v>4144.7420000000002</c:v>
                </c:pt>
                <c:pt idx="6115">
                  <c:v>4143.3650000000034</c:v>
                </c:pt>
                <c:pt idx="6116">
                  <c:v>4142.3390000000009</c:v>
                </c:pt>
                <c:pt idx="6117">
                  <c:v>4141.2120000000004</c:v>
                </c:pt>
                <c:pt idx="6118">
                  <c:v>4138.42</c:v>
                </c:pt>
                <c:pt idx="6119">
                  <c:v>4135.5450000000001</c:v>
                </c:pt>
                <c:pt idx="6120">
                  <c:v>4134.7280000000001</c:v>
                </c:pt>
                <c:pt idx="6121">
                  <c:v>4133.8730000000005</c:v>
                </c:pt>
                <c:pt idx="6122">
                  <c:v>4131.1540000000014</c:v>
                </c:pt>
                <c:pt idx="6123">
                  <c:v>4130.7390000000005</c:v>
                </c:pt>
                <c:pt idx="6124">
                  <c:v>4129.5690000000004</c:v>
                </c:pt>
                <c:pt idx="6125">
                  <c:v>4128.6240000000034</c:v>
                </c:pt>
                <c:pt idx="6126">
                  <c:v>4123.6100000000024</c:v>
                </c:pt>
                <c:pt idx="6127">
                  <c:v>4121.442</c:v>
                </c:pt>
                <c:pt idx="6128">
                  <c:v>4119.49</c:v>
                </c:pt>
                <c:pt idx="6129">
                  <c:v>4118.8810000000003</c:v>
                </c:pt>
                <c:pt idx="6130">
                  <c:v>4118.6630000000014</c:v>
                </c:pt>
                <c:pt idx="6131">
                  <c:v>4117.3820000000014</c:v>
                </c:pt>
                <c:pt idx="6132">
                  <c:v>4117.2729999999992</c:v>
                </c:pt>
                <c:pt idx="6133">
                  <c:v>4116.8490000000002</c:v>
                </c:pt>
                <c:pt idx="6134">
                  <c:v>4114.4039999999995</c:v>
                </c:pt>
                <c:pt idx="6135">
                  <c:v>4114.2896110000001</c:v>
                </c:pt>
                <c:pt idx="6136">
                  <c:v>4113.7170000000015</c:v>
                </c:pt>
                <c:pt idx="6137">
                  <c:v>4112.8890000000001</c:v>
                </c:pt>
                <c:pt idx="6138">
                  <c:v>4112.6980000000003</c:v>
                </c:pt>
                <c:pt idx="6139">
                  <c:v>4112.0389999999998</c:v>
                </c:pt>
                <c:pt idx="6140">
                  <c:v>4110.8220000000056</c:v>
                </c:pt>
                <c:pt idx="6141">
                  <c:v>4109.2060000000001</c:v>
                </c:pt>
                <c:pt idx="6142">
                  <c:v>4108.5920000000024</c:v>
                </c:pt>
                <c:pt idx="6143">
                  <c:v>4106.0859999999993</c:v>
                </c:pt>
                <c:pt idx="6144">
                  <c:v>4102.4759999999997</c:v>
                </c:pt>
                <c:pt idx="6145">
                  <c:v>4099.7870000000003</c:v>
                </c:pt>
                <c:pt idx="6146">
                  <c:v>4099.0220000000054</c:v>
                </c:pt>
                <c:pt idx="6147">
                  <c:v>4098.5039999999999</c:v>
                </c:pt>
                <c:pt idx="6148">
                  <c:v>4095.2490000000003</c:v>
                </c:pt>
                <c:pt idx="6149">
                  <c:v>4094.502</c:v>
                </c:pt>
                <c:pt idx="6150">
                  <c:v>4092.6870000000004</c:v>
                </c:pt>
                <c:pt idx="6151">
                  <c:v>4090.0619999999999</c:v>
                </c:pt>
                <c:pt idx="6152">
                  <c:v>4088.7960000000003</c:v>
                </c:pt>
                <c:pt idx="6153">
                  <c:v>4087.6419999999998</c:v>
                </c:pt>
                <c:pt idx="6154">
                  <c:v>4086.8860000000004</c:v>
                </c:pt>
                <c:pt idx="6155">
                  <c:v>4086.2290000000003</c:v>
                </c:pt>
                <c:pt idx="6156">
                  <c:v>4085.585</c:v>
                </c:pt>
                <c:pt idx="6157">
                  <c:v>4082.0540000000001</c:v>
                </c:pt>
                <c:pt idx="6158">
                  <c:v>4080.1539999999995</c:v>
                </c:pt>
                <c:pt idx="6159">
                  <c:v>4079.7159999999999</c:v>
                </c:pt>
                <c:pt idx="6160">
                  <c:v>4077.9129999999991</c:v>
                </c:pt>
                <c:pt idx="6161">
                  <c:v>4077.1470000000004</c:v>
                </c:pt>
                <c:pt idx="6162">
                  <c:v>4075.5679999999998</c:v>
                </c:pt>
                <c:pt idx="6163">
                  <c:v>4075.38</c:v>
                </c:pt>
                <c:pt idx="6164">
                  <c:v>4073.9340000000002</c:v>
                </c:pt>
                <c:pt idx="6165">
                  <c:v>4073.0660000000003</c:v>
                </c:pt>
                <c:pt idx="6166">
                  <c:v>4072.2350000000001</c:v>
                </c:pt>
                <c:pt idx="6167">
                  <c:v>4069.529</c:v>
                </c:pt>
                <c:pt idx="6168">
                  <c:v>4069.1610000000001</c:v>
                </c:pt>
                <c:pt idx="6169">
                  <c:v>4068.3530000000028</c:v>
                </c:pt>
                <c:pt idx="6170">
                  <c:v>4065.5030000000002</c:v>
                </c:pt>
                <c:pt idx="6171">
                  <c:v>4065.4899999999993</c:v>
                </c:pt>
                <c:pt idx="6172">
                  <c:v>4063.9520000000002</c:v>
                </c:pt>
                <c:pt idx="6173">
                  <c:v>4061.8620000000001</c:v>
                </c:pt>
                <c:pt idx="6174">
                  <c:v>4061.7799999999997</c:v>
                </c:pt>
                <c:pt idx="6175">
                  <c:v>4059.759</c:v>
                </c:pt>
                <c:pt idx="6176">
                  <c:v>4059.5140000000001</c:v>
                </c:pt>
                <c:pt idx="6177">
                  <c:v>4059.194</c:v>
                </c:pt>
                <c:pt idx="6178">
                  <c:v>4059.0793330000029</c:v>
                </c:pt>
                <c:pt idx="6179">
                  <c:v>4057.3949999999995</c:v>
                </c:pt>
                <c:pt idx="6180">
                  <c:v>4052.2799999999997</c:v>
                </c:pt>
                <c:pt idx="6181">
                  <c:v>4049.9347219999995</c:v>
                </c:pt>
                <c:pt idx="6182">
                  <c:v>4049.2719999999999</c:v>
                </c:pt>
                <c:pt idx="6183">
                  <c:v>4047.8429999999998</c:v>
                </c:pt>
                <c:pt idx="6184">
                  <c:v>4047.3659999999995</c:v>
                </c:pt>
                <c:pt idx="6185">
                  <c:v>4047.181</c:v>
                </c:pt>
                <c:pt idx="6186">
                  <c:v>4042.864</c:v>
                </c:pt>
                <c:pt idx="6187">
                  <c:v>4042.8300000000022</c:v>
                </c:pt>
                <c:pt idx="6188">
                  <c:v>4042.5440000000003</c:v>
                </c:pt>
                <c:pt idx="6189">
                  <c:v>4041.9769999999999</c:v>
                </c:pt>
                <c:pt idx="6190">
                  <c:v>4040.3820000000001</c:v>
                </c:pt>
                <c:pt idx="6191">
                  <c:v>4040.2689999999957</c:v>
                </c:pt>
                <c:pt idx="6192">
                  <c:v>4036.8989999999994</c:v>
                </c:pt>
                <c:pt idx="6193">
                  <c:v>4036.7039999999997</c:v>
                </c:pt>
                <c:pt idx="6194">
                  <c:v>4036.3690000000001</c:v>
                </c:pt>
                <c:pt idx="6195">
                  <c:v>4036.2570000000001</c:v>
                </c:pt>
                <c:pt idx="6196">
                  <c:v>4035.77</c:v>
                </c:pt>
                <c:pt idx="6197">
                  <c:v>4033.9059999999995</c:v>
                </c:pt>
                <c:pt idx="6198">
                  <c:v>4033.569</c:v>
                </c:pt>
                <c:pt idx="6199">
                  <c:v>4032.7109999999993</c:v>
                </c:pt>
                <c:pt idx="6200">
                  <c:v>4031.8950000000027</c:v>
                </c:pt>
                <c:pt idx="6201">
                  <c:v>4027.9399999999996</c:v>
                </c:pt>
                <c:pt idx="6202">
                  <c:v>4027.0450000000001</c:v>
                </c:pt>
                <c:pt idx="6203">
                  <c:v>4026.9760000000001</c:v>
                </c:pt>
                <c:pt idx="6204">
                  <c:v>4026.2479999999987</c:v>
                </c:pt>
                <c:pt idx="6205">
                  <c:v>4025.1909999999998</c:v>
                </c:pt>
                <c:pt idx="6206">
                  <c:v>4024.8129999999996</c:v>
                </c:pt>
                <c:pt idx="6207">
                  <c:v>4024.1310000000012</c:v>
                </c:pt>
                <c:pt idx="6208">
                  <c:v>4024.0509999999999</c:v>
                </c:pt>
                <c:pt idx="6209">
                  <c:v>4023.8240000000005</c:v>
                </c:pt>
                <c:pt idx="6210">
                  <c:v>4022.1219999999994</c:v>
                </c:pt>
                <c:pt idx="6211">
                  <c:v>4021.4349999999999</c:v>
                </c:pt>
                <c:pt idx="6212">
                  <c:v>4020.3140000000012</c:v>
                </c:pt>
                <c:pt idx="6213">
                  <c:v>4019.9509999999996</c:v>
                </c:pt>
                <c:pt idx="6214">
                  <c:v>4018.4659999999999</c:v>
                </c:pt>
                <c:pt idx="6215">
                  <c:v>4018.402</c:v>
                </c:pt>
                <c:pt idx="6216">
                  <c:v>4017.36</c:v>
                </c:pt>
                <c:pt idx="6217">
                  <c:v>4017.3089999999993</c:v>
                </c:pt>
                <c:pt idx="6218">
                  <c:v>4016.9390000000012</c:v>
                </c:pt>
                <c:pt idx="6219">
                  <c:v>4015.8429999999994</c:v>
                </c:pt>
                <c:pt idx="6220">
                  <c:v>4014.549</c:v>
                </c:pt>
                <c:pt idx="6221">
                  <c:v>4011.1819999999998</c:v>
                </c:pt>
                <c:pt idx="6222">
                  <c:v>4010.5340000000001</c:v>
                </c:pt>
                <c:pt idx="6223">
                  <c:v>4008.3320000000012</c:v>
                </c:pt>
                <c:pt idx="6224">
                  <c:v>4007.3430000000012</c:v>
                </c:pt>
                <c:pt idx="6225">
                  <c:v>4007.002</c:v>
                </c:pt>
                <c:pt idx="6226">
                  <c:v>4006.7530000000002</c:v>
                </c:pt>
                <c:pt idx="6227">
                  <c:v>4006.3409999999999</c:v>
                </c:pt>
                <c:pt idx="6228">
                  <c:v>4005.8629999999998</c:v>
                </c:pt>
                <c:pt idx="6229">
                  <c:v>4003.7160000000003</c:v>
                </c:pt>
                <c:pt idx="6230">
                  <c:v>4002.6448329999998</c:v>
                </c:pt>
                <c:pt idx="6231">
                  <c:v>4001.8220000000001</c:v>
                </c:pt>
                <c:pt idx="6232">
                  <c:v>4000.2759999999998</c:v>
                </c:pt>
                <c:pt idx="6233">
                  <c:v>3999.9250000000002</c:v>
                </c:pt>
                <c:pt idx="6234">
                  <c:v>3999.8510000000028</c:v>
                </c:pt>
                <c:pt idx="6235">
                  <c:v>3998.7159999999999</c:v>
                </c:pt>
                <c:pt idx="6236">
                  <c:v>3998.4369999999999</c:v>
                </c:pt>
                <c:pt idx="6237">
                  <c:v>3996.598</c:v>
                </c:pt>
                <c:pt idx="6238">
                  <c:v>3991.6590000000001</c:v>
                </c:pt>
                <c:pt idx="6239">
                  <c:v>3988.8500000000022</c:v>
                </c:pt>
                <c:pt idx="6240">
                  <c:v>3987.9489999999987</c:v>
                </c:pt>
                <c:pt idx="6241">
                  <c:v>3984.7719999999999</c:v>
                </c:pt>
                <c:pt idx="6242">
                  <c:v>3984.7300000000005</c:v>
                </c:pt>
                <c:pt idx="6243">
                  <c:v>3981.8659999999995</c:v>
                </c:pt>
                <c:pt idx="6244">
                  <c:v>3981.8350000000032</c:v>
                </c:pt>
                <c:pt idx="6245">
                  <c:v>3980.8070000000002</c:v>
                </c:pt>
                <c:pt idx="6246">
                  <c:v>3980.7019999999998</c:v>
                </c:pt>
                <c:pt idx="6247">
                  <c:v>3980.163</c:v>
                </c:pt>
                <c:pt idx="6248">
                  <c:v>3978.5929999999998</c:v>
                </c:pt>
                <c:pt idx="6249">
                  <c:v>3977.9379999999996</c:v>
                </c:pt>
                <c:pt idx="6250">
                  <c:v>3977.8710000000028</c:v>
                </c:pt>
                <c:pt idx="6251">
                  <c:v>3976.3760000000002</c:v>
                </c:pt>
                <c:pt idx="6252">
                  <c:v>3976.3679999999999</c:v>
                </c:pt>
                <c:pt idx="6253">
                  <c:v>3975.8819999999996</c:v>
                </c:pt>
                <c:pt idx="6254">
                  <c:v>3974.3069999999998</c:v>
                </c:pt>
                <c:pt idx="6255">
                  <c:v>3973.4389999999999</c:v>
                </c:pt>
                <c:pt idx="6256">
                  <c:v>3972.3380000000006</c:v>
                </c:pt>
                <c:pt idx="6257">
                  <c:v>3967.116</c:v>
                </c:pt>
                <c:pt idx="6258">
                  <c:v>3966.5640000000003</c:v>
                </c:pt>
                <c:pt idx="6259">
                  <c:v>3965.3879999999995</c:v>
                </c:pt>
                <c:pt idx="6260">
                  <c:v>3963.5140000000001</c:v>
                </c:pt>
                <c:pt idx="6261">
                  <c:v>3963.4649999999988</c:v>
                </c:pt>
                <c:pt idx="6262">
                  <c:v>3962.9959999999996</c:v>
                </c:pt>
                <c:pt idx="6263">
                  <c:v>3962.6559999999999</c:v>
                </c:pt>
                <c:pt idx="6264">
                  <c:v>3962.4680000000003</c:v>
                </c:pt>
                <c:pt idx="6265">
                  <c:v>3961.8730000000028</c:v>
                </c:pt>
                <c:pt idx="6266">
                  <c:v>3960.9019999999996</c:v>
                </c:pt>
                <c:pt idx="6267">
                  <c:v>3958.4009999999998</c:v>
                </c:pt>
                <c:pt idx="6268">
                  <c:v>3956.0270000000005</c:v>
                </c:pt>
                <c:pt idx="6269">
                  <c:v>3953.3160000000012</c:v>
                </c:pt>
                <c:pt idx="6270">
                  <c:v>3952.3100000000022</c:v>
                </c:pt>
                <c:pt idx="6271">
                  <c:v>3952.2320000000004</c:v>
                </c:pt>
                <c:pt idx="6272">
                  <c:v>3952.0129999999999</c:v>
                </c:pt>
                <c:pt idx="6273">
                  <c:v>3951.3520000000012</c:v>
                </c:pt>
                <c:pt idx="6274">
                  <c:v>3949.4470000000001</c:v>
                </c:pt>
                <c:pt idx="6275">
                  <c:v>3947.3650000000002</c:v>
                </c:pt>
                <c:pt idx="6276">
                  <c:v>3945.5129999999999</c:v>
                </c:pt>
                <c:pt idx="6277">
                  <c:v>3945.21</c:v>
                </c:pt>
                <c:pt idx="6278">
                  <c:v>3945.0889999999972</c:v>
                </c:pt>
                <c:pt idx="6279">
                  <c:v>3943.7610000000004</c:v>
                </c:pt>
                <c:pt idx="6280">
                  <c:v>3942.9870000000001</c:v>
                </c:pt>
                <c:pt idx="6281">
                  <c:v>3942.5289999999968</c:v>
                </c:pt>
                <c:pt idx="6282">
                  <c:v>3941.3320000000012</c:v>
                </c:pt>
                <c:pt idx="6283">
                  <c:v>3939.6686669999967</c:v>
                </c:pt>
                <c:pt idx="6284">
                  <c:v>3938.4949999999999</c:v>
                </c:pt>
                <c:pt idx="6285">
                  <c:v>3936.3089999999997</c:v>
                </c:pt>
                <c:pt idx="6286">
                  <c:v>3933.6710000000012</c:v>
                </c:pt>
                <c:pt idx="6287">
                  <c:v>3932.6219999999998</c:v>
                </c:pt>
                <c:pt idx="6288">
                  <c:v>3931.9230000000002</c:v>
                </c:pt>
                <c:pt idx="6289">
                  <c:v>3931.2909999999993</c:v>
                </c:pt>
                <c:pt idx="6290">
                  <c:v>3929.9879999999998</c:v>
                </c:pt>
                <c:pt idx="6291">
                  <c:v>3928.84</c:v>
                </c:pt>
                <c:pt idx="6292">
                  <c:v>3928.7689999999975</c:v>
                </c:pt>
                <c:pt idx="6293">
                  <c:v>3928.663</c:v>
                </c:pt>
                <c:pt idx="6294">
                  <c:v>3923.0419999999995</c:v>
                </c:pt>
                <c:pt idx="6295">
                  <c:v>3922.5770000000002</c:v>
                </c:pt>
                <c:pt idx="6296">
                  <c:v>3920.6750000000002</c:v>
                </c:pt>
                <c:pt idx="6297">
                  <c:v>3920.46</c:v>
                </c:pt>
                <c:pt idx="6298">
                  <c:v>3920.4540000000002</c:v>
                </c:pt>
                <c:pt idx="6299">
                  <c:v>3918.2019999999998</c:v>
                </c:pt>
                <c:pt idx="6300">
                  <c:v>3914.4810000000002</c:v>
                </c:pt>
                <c:pt idx="6301">
                  <c:v>3912.5770000000002</c:v>
                </c:pt>
                <c:pt idx="6302">
                  <c:v>3911.9449999999997</c:v>
                </c:pt>
                <c:pt idx="6303">
                  <c:v>3911.4110000000028</c:v>
                </c:pt>
                <c:pt idx="6304">
                  <c:v>3910.3590000000022</c:v>
                </c:pt>
                <c:pt idx="6305">
                  <c:v>3909.4659999999999</c:v>
                </c:pt>
                <c:pt idx="6306">
                  <c:v>3909.4609999999998</c:v>
                </c:pt>
                <c:pt idx="6307">
                  <c:v>3909.0590000000011</c:v>
                </c:pt>
                <c:pt idx="6308">
                  <c:v>3903.4520000000002</c:v>
                </c:pt>
                <c:pt idx="6309">
                  <c:v>3901.8070000000002</c:v>
                </c:pt>
                <c:pt idx="6310">
                  <c:v>3901.5040000000004</c:v>
                </c:pt>
                <c:pt idx="6311">
                  <c:v>3899.7010000000005</c:v>
                </c:pt>
                <c:pt idx="6312">
                  <c:v>3898.4380000000001</c:v>
                </c:pt>
                <c:pt idx="6313">
                  <c:v>3895.7469999999967</c:v>
                </c:pt>
                <c:pt idx="6314">
                  <c:v>3895.5540000000001</c:v>
                </c:pt>
                <c:pt idx="6315">
                  <c:v>3893.9820000000004</c:v>
                </c:pt>
                <c:pt idx="6316">
                  <c:v>3892.6889999999967</c:v>
                </c:pt>
                <c:pt idx="6317">
                  <c:v>3890.9229999999998</c:v>
                </c:pt>
                <c:pt idx="6318">
                  <c:v>3890.4869999999987</c:v>
                </c:pt>
                <c:pt idx="6319">
                  <c:v>3889.1320000000001</c:v>
                </c:pt>
                <c:pt idx="6320">
                  <c:v>3888.9050000000002</c:v>
                </c:pt>
                <c:pt idx="6321">
                  <c:v>3887.9540000000002</c:v>
                </c:pt>
                <c:pt idx="6322">
                  <c:v>3886.9320000000002</c:v>
                </c:pt>
                <c:pt idx="6323">
                  <c:v>3885.8510000000028</c:v>
                </c:pt>
                <c:pt idx="6324">
                  <c:v>3885.366</c:v>
                </c:pt>
                <c:pt idx="6325">
                  <c:v>3883.5660000000003</c:v>
                </c:pt>
                <c:pt idx="6326">
                  <c:v>3883.1489999999962</c:v>
                </c:pt>
                <c:pt idx="6327">
                  <c:v>3879.634</c:v>
                </c:pt>
                <c:pt idx="6328">
                  <c:v>3879.3589999999995</c:v>
                </c:pt>
                <c:pt idx="6329">
                  <c:v>3879.1369999999997</c:v>
                </c:pt>
                <c:pt idx="6330">
                  <c:v>3878.424</c:v>
                </c:pt>
                <c:pt idx="6331">
                  <c:v>3877.0540000000001</c:v>
                </c:pt>
                <c:pt idx="6332">
                  <c:v>3873.3270000000002</c:v>
                </c:pt>
                <c:pt idx="6333">
                  <c:v>3872.5168889999973</c:v>
                </c:pt>
                <c:pt idx="6334">
                  <c:v>3872.3780000000002</c:v>
                </c:pt>
                <c:pt idx="6335">
                  <c:v>3872.0510000000022</c:v>
                </c:pt>
                <c:pt idx="6336">
                  <c:v>3871.172</c:v>
                </c:pt>
                <c:pt idx="6337">
                  <c:v>3869.6599999999994</c:v>
                </c:pt>
                <c:pt idx="6338">
                  <c:v>3868.8340000000012</c:v>
                </c:pt>
                <c:pt idx="6339">
                  <c:v>3868.614</c:v>
                </c:pt>
                <c:pt idx="6340">
                  <c:v>3867.5250000000005</c:v>
                </c:pt>
                <c:pt idx="6341">
                  <c:v>3866.3360000000002</c:v>
                </c:pt>
                <c:pt idx="6342">
                  <c:v>3866.0690000000004</c:v>
                </c:pt>
                <c:pt idx="6343">
                  <c:v>3865.8459999999995</c:v>
                </c:pt>
                <c:pt idx="6344">
                  <c:v>3864.4660000000003</c:v>
                </c:pt>
                <c:pt idx="6345">
                  <c:v>3863.9360000000001</c:v>
                </c:pt>
                <c:pt idx="6346">
                  <c:v>3861.6309999999994</c:v>
                </c:pt>
                <c:pt idx="6347">
                  <c:v>3858.1439999999998</c:v>
                </c:pt>
                <c:pt idx="6348">
                  <c:v>3856.1389999999997</c:v>
                </c:pt>
                <c:pt idx="6349">
                  <c:v>3854.68</c:v>
                </c:pt>
                <c:pt idx="6350">
                  <c:v>3851.9530000000022</c:v>
                </c:pt>
                <c:pt idx="6351">
                  <c:v>3851.7249999999967</c:v>
                </c:pt>
                <c:pt idx="6352">
                  <c:v>3850.0660000000007</c:v>
                </c:pt>
                <c:pt idx="6353">
                  <c:v>3849.241</c:v>
                </c:pt>
                <c:pt idx="6354">
                  <c:v>3848.9720000000002</c:v>
                </c:pt>
                <c:pt idx="6355">
                  <c:v>3848.5450000000001</c:v>
                </c:pt>
                <c:pt idx="6356">
                  <c:v>3847.5370000000012</c:v>
                </c:pt>
                <c:pt idx="6357">
                  <c:v>3845.8980000000006</c:v>
                </c:pt>
                <c:pt idx="6358">
                  <c:v>3845.0449999999987</c:v>
                </c:pt>
                <c:pt idx="6359">
                  <c:v>3844.9088889999975</c:v>
                </c:pt>
                <c:pt idx="6360">
                  <c:v>3842.9730000000022</c:v>
                </c:pt>
                <c:pt idx="6361">
                  <c:v>3842.2259999999997</c:v>
                </c:pt>
                <c:pt idx="6362">
                  <c:v>3841.3389999999999</c:v>
                </c:pt>
                <c:pt idx="6363">
                  <c:v>3840.8930000000028</c:v>
                </c:pt>
                <c:pt idx="6364">
                  <c:v>3840.1190000000006</c:v>
                </c:pt>
                <c:pt idx="6365">
                  <c:v>3839.9290000000001</c:v>
                </c:pt>
                <c:pt idx="6366">
                  <c:v>3838.8560000000002</c:v>
                </c:pt>
                <c:pt idx="6367">
                  <c:v>3838.5479999999998</c:v>
                </c:pt>
                <c:pt idx="6368">
                  <c:v>3837.6359999999995</c:v>
                </c:pt>
                <c:pt idx="6369">
                  <c:v>3833.2269999999967</c:v>
                </c:pt>
                <c:pt idx="6370">
                  <c:v>3833.067</c:v>
                </c:pt>
                <c:pt idx="6371">
                  <c:v>3831.7359999999999</c:v>
                </c:pt>
                <c:pt idx="6372">
                  <c:v>3831.3960000000002</c:v>
                </c:pt>
                <c:pt idx="6373">
                  <c:v>3830.7739999999999</c:v>
                </c:pt>
                <c:pt idx="6374">
                  <c:v>3829.7859999999987</c:v>
                </c:pt>
                <c:pt idx="6375">
                  <c:v>3829.6899999999987</c:v>
                </c:pt>
                <c:pt idx="6376">
                  <c:v>3829.4510000000028</c:v>
                </c:pt>
                <c:pt idx="6377">
                  <c:v>3829.0869999999968</c:v>
                </c:pt>
                <c:pt idx="6378">
                  <c:v>3827.2270000000003</c:v>
                </c:pt>
                <c:pt idx="6379">
                  <c:v>3824.9489999999987</c:v>
                </c:pt>
                <c:pt idx="6380">
                  <c:v>3824.7069999999967</c:v>
                </c:pt>
                <c:pt idx="6381">
                  <c:v>3824.1849999999963</c:v>
                </c:pt>
                <c:pt idx="6382">
                  <c:v>3824.0320000000002</c:v>
                </c:pt>
                <c:pt idx="6383">
                  <c:v>3823.9009999999998</c:v>
                </c:pt>
                <c:pt idx="6384">
                  <c:v>3823.4790000000012</c:v>
                </c:pt>
                <c:pt idx="6385">
                  <c:v>3822.9279999999999</c:v>
                </c:pt>
                <c:pt idx="6386">
                  <c:v>3822.0390000000002</c:v>
                </c:pt>
                <c:pt idx="6387">
                  <c:v>3821.3029999999999</c:v>
                </c:pt>
                <c:pt idx="6388">
                  <c:v>3821.0190000000002</c:v>
                </c:pt>
                <c:pt idx="6389">
                  <c:v>3820.9690000000001</c:v>
                </c:pt>
                <c:pt idx="6390">
                  <c:v>3820.0340000000001</c:v>
                </c:pt>
                <c:pt idx="6391">
                  <c:v>3819.4830000000002</c:v>
                </c:pt>
                <c:pt idx="6392">
                  <c:v>3815.8889999999997</c:v>
                </c:pt>
                <c:pt idx="6393">
                  <c:v>3814.2959999999998</c:v>
                </c:pt>
                <c:pt idx="6394">
                  <c:v>3814.2160000000003</c:v>
                </c:pt>
                <c:pt idx="6395">
                  <c:v>3813.7279999999987</c:v>
                </c:pt>
                <c:pt idx="6396">
                  <c:v>3813.6368889999967</c:v>
                </c:pt>
                <c:pt idx="6397">
                  <c:v>3812.8890000000001</c:v>
                </c:pt>
                <c:pt idx="6398">
                  <c:v>3810.8900000000012</c:v>
                </c:pt>
                <c:pt idx="6399">
                  <c:v>3803.8700000000022</c:v>
                </c:pt>
                <c:pt idx="6400">
                  <c:v>3798.8620000000001</c:v>
                </c:pt>
                <c:pt idx="6401">
                  <c:v>3797.3360000000002</c:v>
                </c:pt>
                <c:pt idx="6402">
                  <c:v>3794.7059999999997</c:v>
                </c:pt>
                <c:pt idx="6403">
                  <c:v>3793.1149999999998</c:v>
                </c:pt>
                <c:pt idx="6404">
                  <c:v>3792.8560000000011</c:v>
                </c:pt>
                <c:pt idx="6405">
                  <c:v>3790.4969999999994</c:v>
                </c:pt>
                <c:pt idx="6406">
                  <c:v>3790.2529999999997</c:v>
                </c:pt>
                <c:pt idx="6407">
                  <c:v>3790.181</c:v>
                </c:pt>
                <c:pt idx="6408">
                  <c:v>3788.3340000000012</c:v>
                </c:pt>
                <c:pt idx="6409">
                  <c:v>3787.0369999999998</c:v>
                </c:pt>
                <c:pt idx="6410">
                  <c:v>3785.7710000000002</c:v>
                </c:pt>
                <c:pt idx="6411">
                  <c:v>3784.8250000000012</c:v>
                </c:pt>
                <c:pt idx="6412">
                  <c:v>3783.4269999999997</c:v>
                </c:pt>
                <c:pt idx="6413">
                  <c:v>3781.1630000000005</c:v>
                </c:pt>
                <c:pt idx="6414">
                  <c:v>3777.9250000000002</c:v>
                </c:pt>
                <c:pt idx="6415">
                  <c:v>3774.4949999999999</c:v>
                </c:pt>
                <c:pt idx="6416">
                  <c:v>3773.0740000000001</c:v>
                </c:pt>
                <c:pt idx="6417">
                  <c:v>3771.1530000000002</c:v>
                </c:pt>
                <c:pt idx="6418">
                  <c:v>3769.2730000000001</c:v>
                </c:pt>
                <c:pt idx="6419">
                  <c:v>3768.4150000000022</c:v>
                </c:pt>
                <c:pt idx="6420">
                  <c:v>3766.5210000000002</c:v>
                </c:pt>
                <c:pt idx="6421">
                  <c:v>3766.0530000000012</c:v>
                </c:pt>
                <c:pt idx="6422">
                  <c:v>3765.1739999999995</c:v>
                </c:pt>
                <c:pt idx="6423">
                  <c:v>3763.1030000000001</c:v>
                </c:pt>
                <c:pt idx="6424">
                  <c:v>3759.7849999999967</c:v>
                </c:pt>
                <c:pt idx="6425">
                  <c:v>3754.9499999999994</c:v>
                </c:pt>
                <c:pt idx="6426">
                  <c:v>3754.7029999999963</c:v>
                </c:pt>
                <c:pt idx="6427">
                  <c:v>3753.5149999999999</c:v>
                </c:pt>
                <c:pt idx="6428">
                  <c:v>3750.7950000000001</c:v>
                </c:pt>
                <c:pt idx="6429">
                  <c:v>3749.7479999999987</c:v>
                </c:pt>
                <c:pt idx="6430">
                  <c:v>3746.15</c:v>
                </c:pt>
                <c:pt idx="6431">
                  <c:v>3745.7479999999987</c:v>
                </c:pt>
                <c:pt idx="6432">
                  <c:v>3744.0709999999999</c:v>
                </c:pt>
                <c:pt idx="6433">
                  <c:v>3738.8070000000002</c:v>
                </c:pt>
                <c:pt idx="6434">
                  <c:v>3738.7219999999998</c:v>
                </c:pt>
                <c:pt idx="6435">
                  <c:v>3737.828</c:v>
                </c:pt>
                <c:pt idx="6436">
                  <c:v>3734.5050000000001</c:v>
                </c:pt>
                <c:pt idx="6437">
                  <c:v>3734.3540000000012</c:v>
                </c:pt>
                <c:pt idx="6438">
                  <c:v>3734.165</c:v>
                </c:pt>
                <c:pt idx="6439">
                  <c:v>3733.1989999999987</c:v>
                </c:pt>
                <c:pt idx="6440">
                  <c:v>3732.076</c:v>
                </c:pt>
                <c:pt idx="6441">
                  <c:v>3731.5299999999997</c:v>
                </c:pt>
                <c:pt idx="6442">
                  <c:v>3729.6590000000001</c:v>
                </c:pt>
                <c:pt idx="6443">
                  <c:v>3729.08</c:v>
                </c:pt>
                <c:pt idx="6444">
                  <c:v>3728.5370000000012</c:v>
                </c:pt>
                <c:pt idx="6445">
                  <c:v>3727.8210560000039</c:v>
                </c:pt>
                <c:pt idx="6446">
                  <c:v>3726.8960000000002</c:v>
                </c:pt>
                <c:pt idx="6447">
                  <c:v>3725.0879999999997</c:v>
                </c:pt>
                <c:pt idx="6448">
                  <c:v>3723.125</c:v>
                </c:pt>
                <c:pt idx="6449">
                  <c:v>3719.5760000000009</c:v>
                </c:pt>
                <c:pt idx="6450">
                  <c:v>3716.7269999999967</c:v>
                </c:pt>
                <c:pt idx="6451">
                  <c:v>3716.0540000000001</c:v>
                </c:pt>
                <c:pt idx="6452">
                  <c:v>3713.1610000000005</c:v>
                </c:pt>
                <c:pt idx="6453">
                  <c:v>3712.8989999999994</c:v>
                </c:pt>
                <c:pt idx="6454">
                  <c:v>3711.6079999999997</c:v>
                </c:pt>
                <c:pt idx="6455">
                  <c:v>3711.2580000000003</c:v>
                </c:pt>
                <c:pt idx="6456">
                  <c:v>3709.8860000000004</c:v>
                </c:pt>
                <c:pt idx="6457">
                  <c:v>3708.5010000000002</c:v>
                </c:pt>
                <c:pt idx="6458">
                  <c:v>3706.9100000000012</c:v>
                </c:pt>
                <c:pt idx="6459">
                  <c:v>3704.7239999999997</c:v>
                </c:pt>
                <c:pt idx="6460">
                  <c:v>3704.5859999999998</c:v>
                </c:pt>
                <c:pt idx="6461">
                  <c:v>3703.1180000000004</c:v>
                </c:pt>
                <c:pt idx="6462">
                  <c:v>3703.018</c:v>
                </c:pt>
                <c:pt idx="6463">
                  <c:v>3700.9689999999987</c:v>
                </c:pt>
                <c:pt idx="6464">
                  <c:v>3699.2930000000001</c:v>
                </c:pt>
                <c:pt idx="6465">
                  <c:v>3697.2959999999994</c:v>
                </c:pt>
                <c:pt idx="6466">
                  <c:v>3696.3620000000001</c:v>
                </c:pt>
                <c:pt idx="6467">
                  <c:v>3693.808</c:v>
                </c:pt>
                <c:pt idx="6468">
                  <c:v>3693.2519999999995</c:v>
                </c:pt>
                <c:pt idx="6469">
                  <c:v>3691.6120000000001</c:v>
                </c:pt>
                <c:pt idx="6470">
                  <c:v>3691.4369999999994</c:v>
                </c:pt>
                <c:pt idx="6471">
                  <c:v>3690.2039999999997</c:v>
                </c:pt>
                <c:pt idx="6472">
                  <c:v>3689.4769999999999</c:v>
                </c:pt>
                <c:pt idx="6473">
                  <c:v>3689.2370000000005</c:v>
                </c:pt>
                <c:pt idx="6474">
                  <c:v>3688.6729999999998</c:v>
                </c:pt>
                <c:pt idx="6475">
                  <c:v>3688.6030000000001</c:v>
                </c:pt>
                <c:pt idx="6476">
                  <c:v>3685.0360000000001</c:v>
                </c:pt>
                <c:pt idx="6477">
                  <c:v>3684.9830000000002</c:v>
                </c:pt>
                <c:pt idx="6478">
                  <c:v>3684.328</c:v>
                </c:pt>
                <c:pt idx="6479">
                  <c:v>3681.9669999999987</c:v>
                </c:pt>
                <c:pt idx="6480">
                  <c:v>3681.7009999999987</c:v>
                </c:pt>
                <c:pt idx="6481">
                  <c:v>3680.3560000000002</c:v>
                </c:pt>
                <c:pt idx="6482">
                  <c:v>3680.2279999999987</c:v>
                </c:pt>
                <c:pt idx="6483">
                  <c:v>3678.6390000000001</c:v>
                </c:pt>
                <c:pt idx="6484">
                  <c:v>3678.6310000000012</c:v>
                </c:pt>
                <c:pt idx="6485">
                  <c:v>3678.3989999999999</c:v>
                </c:pt>
                <c:pt idx="6486">
                  <c:v>3677.8400000000006</c:v>
                </c:pt>
                <c:pt idx="6487">
                  <c:v>3674.6289999999967</c:v>
                </c:pt>
                <c:pt idx="6488">
                  <c:v>3673.3330000000028</c:v>
                </c:pt>
                <c:pt idx="6489">
                  <c:v>3673.12</c:v>
                </c:pt>
                <c:pt idx="6490">
                  <c:v>3669.08</c:v>
                </c:pt>
                <c:pt idx="6491">
                  <c:v>3666.7229999999963</c:v>
                </c:pt>
                <c:pt idx="6492">
                  <c:v>3666.6849999999963</c:v>
                </c:pt>
                <c:pt idx="6493">
                  <c:v>3663.0080000000007</c:v>
                </c:pt>
                <c:pt idx="6494">
                  <c:v>3662.163</c:v>
                </c:pt>
                <c:pt idx="6495">
                  <c:v>3661.8070000000002</c:v>
                </c:pt>
                <c:pt idx="6496">
                  <c:v>3655.5070000000001</c:v>
                </c:pt>
                <c:pt idx="6497">
                  <c:v>3653.402</c:v>
                </c:pt>
                <c:pt idx="6498">
                  <c:v>3652.8470000000002</c:v>
                </c:pt>
                <c:pt idx="6499">
                  <c:v>3650.2750000000005</c:v>
                </c:pt>
                <c:pt idx="6500">
                  <c:v>3649.0790000000002</c:v>
                </c:pt>
                <c:pt idx="6501">
                  <c:v>3648.8039999999996</c:v>
                </c:pt>
                <c:pt idx="6502">
                  <c:v>3647.6330000000012</c:v>
                </c:pt>
                <c:pt idx="6503">
                  <c:v>3645.0029999999997</c:v>
                </c:pt>
                <c:pt idx="6504">
                  <c:v>3644.7610000000004</c:v>
                </c:pt>
                <c:pt idx="6505">
                  <c:v>3644.085</c:v>
                </c:pt>
                <c:pt idx="6506">
                  <c:v>3641.9280000000003</c:v>
                </c:pt>
                <c:pt idx="6507">
                  <c:v>3639.2959999999998</c:v>
                </c:pt>
                <c:pt idx="6508">
                  <c:v>3637.4100000000012</c:v>
                </c:pt>
                <c:pt idx="6509">
                  <c:v>3635.9360000000001</c:v>
                </c:pt>
                <c:pt idx="6510">
                  <c:v>3633.1950000000002</c:v>
                </c:pt>
                <c:pt idx="6511">
                  <c:v>3632.4929999999995</c:v>
                </c:pt>
                <c:pt idx="6512">
                  <c:v>3629.9100000000012</c:v>
                </c:pt>
                <c:pt idx="6513">
                  <c:v>3625.7069999999967</c:v>
                </c:pt>
                <c:pt idx="6514">
                  <c:v>3623.8829999999998</c:v>
                </c:pt>
                <c:pt idx="6515">
                  <c:v>3623.8429999999998</c:v>
                </c:pt>
                <c:pt idx="6516">
                  <c:v>3621.605</c:v>
                </c:pt>
                <c:pt idx="6517">
                  <c:v>3617.3710000000028</c:v>
                </c:pt>
                <c:pt idx="6518">
                  <c:v>3617.3010000000022</c:v>
                </c:pt>
                <c:pt idx="6519">
                  <c:v>3614.3710000000028</c:v>
                </c:pt>
                <c:pt idx="6520">
                  <c:v>3613.7270000000003</c:v>
                </c:pt>
                <c:pt idx="6521">
                  <c:v>3612.8800000000006</c:v>
                </c:pt>
                <c:pt idx="6522">
                  <c:v>3610.4379999999996</c:v>
                </c:pt>
                <c:pt idx="6523">
                  <c:v>3609.9690000000001</c:v>
                </c:pt>
                <c:pt idx="6524">
                  <c:v>3609.8669999999997</c:v>
                </c:pt>
                <c:pt idx="6525">
                  <c:v>3608.94</c:v>
                </c:pt>
                <c:pt idx="6526">
                  <c:v>3608.585</c:v>
                </c:pt>
                <c:pt idx="6527">
                  <c:v>3608.54</c:v>
                </c:pt>
                <c:pt idx="6528">
                  <c:v>3608.3970000000022</c:v>
                </c:pt>
                <c:pt idx="6529">
                  <c:v>3607.7429999999972</c:v>
                </c:pt>
                <c:pt idx="6530">
                  <c:v>3605.9039999999995</c:v>
                </c:pt>
                <c:pt idx="6531">
                  <c:v>3604.8660000000004</c:v>
                </c:pt>
                <c:pt idx="6532">
                  <c:v>3602.5229999999997</c:v>
                </c:pt>
                <c:pt idx="6533">
                  <c:v>3602.1969999999997</c:v>
                </c:pt>
                <c:pt idx="6534">
                  <c:v>3601.6129999999998</c:v>
                </c:pt>
                <c:pt idx="6535">
                  <c:v>3601.5069999999987</c:v>
                </c:pt>
                <c:pt idx="6536">
                  <c:v>3599.5199999999995</c:v>
                </c:pt>
                <c:pt idx="6537">
                  <c:v>3598.4859999999999</c:v>
                </c:pt>
                <c:pt idx="6538">
                  <c:v>3598.4190000000012</c:v>
                </c:pt>
                <c:pt idx="6539">
                  <c:v>3597.1990000000001</c:v>
                </c:pt>
                <c:pt idx="6540">
                  <c:v>3597.0769999999998</c:v>
                </c:pt>
                <c:pt idx="6541">
                  <c:v>3591.6679999999997</c:v>
                </c:pt>
                <c:pt idx="6542">
                  <c:v>3585.1379999999999</c:v>
                </c:pt>
                <c:pt idx="6543">
                  <c:v>3582.5169999999994</c:v>
                </c:pt>
                <c:pt idx="6544">
                  <c:v>3581.5590000000011</c:v>
                </c:pt>
                <c:pt idx="6545">
                  <c:v>3581.01</c:v>
                </c:pt>
                <c:pt idx="6546">
                  <c:v>3575.6980000000003</c:v>
                </c:pt>
                <c:pt idx="6547">
                  <c:v>3574.8540000000012</c:v>
                </c:pt>
                <c:pt idx="6548">
                  <c:v>3573.9451670000012</c:v>
                </c:pt>
                <c:pt idx="6549">
                  <c:v>3573.3039999999996</c:v>
                </c:pt>
                <c:pt idx="6550">
                  <c:v>3572.5340000000001</c:v>
                </c:pt>
                <c:pt idx="6551">
                  <c:v>3571.7740000000003</c:v>
                </c:pt>
                <c:pt idx="6552">
                  <c:v>3571.5230000000001</c:v>
                </c:pt>
                <c:pt idx="6553">
                  <c:v>3570.6389999999997</c:v>
                </c:pt>
                <c:pt idx="6554">
                  <c:v>3570.6239999999998</c:v>
                </c:pt>
                <c:pt idx="6555">
                  <c:v>3570.4790000000012</c:v>
                </c:pt>
                <c:pt idx="6556">
                  <c:v>3567.9530000000022</c:v>
                </c:pt>
                <c:pt idx="6557">
                  <c:v>3564.5790000000002</c:v>
                </c:pt>
                <c:pt idx="6558">
                  <c:v>3564.4469999999997</c:v>
                </c:pt>
                <c:pt idx="6559">
                  <c:v>3562.6143889999998</c:v>
                </c:pt>
                <c:pt idx="6560">
                  <c:v>3562.5950000000012</c:v>
                </c:pt>
                <c:pt idx="6561">
                  <c:v>3560.1540000000005</c:v>
                </c:pt>
                <c:pt idx="6562">
                  <c:v>3559.4269999999997</c:v>
                </c:pt>
                <c:pt idx="6563">
                  <c:v>3554.6279999999997</c:v>
                </c:pt>
                <c:pt idx="6564">
                  <c:v>3553.0671670000002</c:v>
                </c:pt>
                <c:pt idx="6565">
                  <c:v>3552.4749999999999</c:v>
                </c:pt>
                <c:pt idx="6566">
                  <c:v>3551.3589999999999</c:v>
                </c:pt>
                <c:pt idx="6567">
                  <c:v>3551.2689999999957</c:v>
                </c:pt>
                <c:pt idx="6568">
                  <c:v>3550.1669999999967</c:v>
                </c:pt>
                <c:pt idx="6569">
                  <c:v>3549.654</c:v>
                </c:pt>
                <c:pt idx="6570">
                  <c:v>3549.3840000000005</c:v>
                </c:pt>
                <c:pt idx="6571">
                  <c:v>3547.5539999999996</c:v>
                </c:pt>
                <c:pt idx="6572">
                  <c:v>3547.4330000000027</c:v>
                </c:pt>
                <c:pt idx="6573">
                  <c:v>3547.1630000000005</c:v>
                </c:pt>
                <c:pt idx="6574">
                  <c:v>3546.6969999999997</c:v>
                </c:pt>
                <c:pt idx="6575">
                  <c:v>3545.9910000000027</c:v>
                </c:pt>
                <c:pt idx="6576">
                  <c:v>3537.7335560000029</c:v>
                </c:pt>
                <c:pt idx="6577">
                  <c:v>3535.8690000000001</c:v>
                </c:pt>
                <c:pt idx="6578">
                  <c:v>3535.2710000000002</c:v>
                </c:pt>
                <c:pt idx="6579">
                  <c:v>3534.1980000000003</c:v>
                </c:pt>
                <c:pt idx="6580">
                  <c:v>3533.9300000000012</c:v>
                </c:pt>
                <c:pt idx="6581">
                  <c:v>3533.6930000000002</c:v>
                </c:pt>
                <c:pt idx="6582">
                  <c:v>3533.6790000000001</c:v>
                </c:pt>
                <c:pt idx="6583">
                  <c:v>3533.674</c:v>
                </c:pt>
                <c:pt idx="6584">
                  <c:v>3529.5080000000007</c:v>
                </c:pt>
                <c:pt idx="6585">
                  <c:v>3528.8590000000022</c:v>
                </c:pt>
                <c:pt idx="6586">
                  <c:v>3527.7659999999987</c:v>
                </c:pt>
                <c:pt idx="6587">
                  <c:v>3523.9040000000005</c:v>
                </c:pt>
                <c:pt idx="6588">
                  <c:v>3522.1719999999996</c:v>
                </c:pt>
                <c:pt idx="6589">
                  <c:v>3516.9229999999998</c:v>
                </c:pt>
                <c:pt idx="6590">
                  <c:v>3516.7599999999998</c:v>
                </c:pt>
                <c:pt idx="6591">
                  <c:v>3516.0770000000002</c:v>
                </c:pt>
                <c:pt idx="6592">
                  <c:v>3514.9779999999996</c:v>
                </c:pt>
                <c:pt idx="6593">
                  <c:v>3514.2427779999998</c:v>
                </c:pt>
                <c:pt idx="6594">
                  <c:v>3513.16</c:v>
                </c:pt>
                <c:pt idx="6595">
                  <c:v>3510.7039999999997</c:v>
                </c:pt>
                <c:pt idx="6596">
                  <c:v>3509.7109999999998</c:v>
                </c:pt>
                <c:pt idx="6597">
                  <c:v>3509.5250000000001</c:v>
                </c:pt>
                <c:pt idx="6598">
                  <c:v>3508.9749999999999</c:v>
                </c:pt>
                <c:pt idx="6599">
                  <c:v>3508.6039999999998</c:v>
                </c:pt>
                <c:pt idx="6600">
                  <c:v>3508.34</c:v>
                </c:pt>
                <c:pt idx="6601">
                  <c:v>3508.0939999999996</c:v>
                </c:pt>
                <c:pt idx="6602">
                  <c:v>3507.7470000000003</c:v>
                </c:pt>
                <c:pt idx="6603">
                  <c:v>3505.9770000000012</c:v>
                </c:pt>
                <c:pt idx="6604">
                  <c:v>3505.7639999999997</c:v>
                </c:pt>
                <c:pt idx="6605">
                  <c:v>3504.6419999999994</c:v>
                </c:pt>
                <c:pt idx="6606">
                  <c:v>3504.529</c:v>
                </c:pt>
                <c:pt idx="6607">
                  <c:v>3501.8560000000002</c:v>
                </c:pt>
                <c:pt idx="6608">
                  <c:v>3501.5530000000012</c:v>
                </c:pt>
                <c:pt idx="6609">
                  <c:v>3501.4350000000022</c:v>
                </c:pt>
                <c:pt idx="6610">
                  <c:v>3500.4819999999995</c:v>
                </c:pt>
                <c:pt idx="6611">
                  <c:v>3497.2238889999976</c:v>
                </c:pt>
                <c:pt idx="6612">
                  <c:v>3496.098</c:v>
                </c:pt>
                <c:pt idx="6613">
                  <c:v>3495.6770000000001</c:v>
                </c:pt>
                <c:pt idx="6614">
                  <c:v>3495.5770000000002</c:v>
                </c:pt>
                <c:pt idx="6615">
                  <c:v>3495.2309999999998</c:v>
                </c:pt>
                <c:pt idx="6616">
                  <c:v>3493.3390000000022</c:v>
                </c:pt>
                <c:pt idx="6617">
                  <c:v>3491.0929999999998</c:v>
                </c:pt>
                <c:pt idx="6618">
                  <c:v>3490.4780000000001</c:v>
                </c:pt>
                <c:pt idx="6619">
                  <c:v>3489.192</c:v>
                </c:pt>
                <c:pt idx="6620">
                  <c:v>3488.8099999999995</c:v>
                </c:pt>
                <c:pt idx="6621">
                  <c:v>3488.4459999999999</c:v>
                </c:pt>
                <c:pt idx="6622">
                  <c:v>3487.4749999999999</c:v>
                </c:pt>
                <c:pt idx="6623">
                  <c:v>3485.3469999999998</c:v>
                </c:pt>
                <c:pt idx="6624">
                  <c:v>3482.9079999999999</c:v>
                </c:pt>
                <c:pt idx="6625">
                  <c:v>3480.2979999999998</c:v>
                </c:pt>
                <c:pt idx="6626">
                  <c:v>3478.2479999999987</c:v>
                </c:pt>
                <c:pt idx="6627">
                  <c:v>3476.2539999999999</c:v>
                </c:pt>
                <c:pt idx="6628">
                  <c:v>3476.1278889999962</c:v>
                </c:pt>
                <c:pt idx="6629">
                  <c:v>3475.94</c:v>
                </c:pt>
                <c:pt idx="6630">
                  <c:v>3475.7649999999967</c:v>
                </c:pt>
                <c:pt idx="6631">
                  <c:v>3474.7406669999987</c:v>
                </c:pt>
                <c:pt idx="6632">
                  <c:v>3471.6580000000004</c:v>
                </c:pt>
                <c:pt idx="6633">
                  <c:v>3471.4940000000001</c:v>
                </c:pt>
                <c:pt idx="6634">
                  <c:v>3470.1759999999999</c:v>
                </c:pt>
                <c:pt idx="6635">
                  <c:v>3469.6059999999998</c:v>
                </c:pt>
                <c:pt idx="6636">
                  <c:v>3469.5309999999999</c:v>
                </c:pt>
                <c:pt idx="6637">
                  <c:v>3467.0250000000001</c:v>
                </c:pt>
                <c:pt idx="6638">
                  <c:v>3466.4839999999999</c:v>
                </c:pt>
                <c:pt idx="6639">
                  <c:v>3465.2039999999997</c:v>
                </c:pt>
                <c:pt idx="6640">
                  <c:v>3464.9410000000012</c:v>
                </c:pt>
                <c:pt idx="6641">
                  <c:v>3464.9310000000028</c:v>
                </c:pt>
                <c:pt idx="6642">
                  <c:v>3462.2279999999987</c:v>
                </c:pt>
                <c:pt idx="6643">
                  <c:v>3462.1139999999996</c:v>
                </c:pt>
                <c:pt idx="6644">
                  <c:v>3461.8890000000001</c:v>
                </c:pt>
                <c:pt idx="6645">
                  <c:v>3460.7679999999987</c:v>
                </c:pt>
                <c:pt idx="6646">
                  <c:v>3456.6709999999994</c:v>
                </c:pt>
                <c:pt idx="6647">
                  <c:v>3456.1709999999998</c:v>
                </c:pt>
                <c:pt idx="6648">
                  <c:v>3454.0609999999997</c:v>
                </c:pt>
                <c:pt idx="6649">
                  <c:v>3452.1910000000012</c:v>
                </c:pt>
                <c:pt idx="6650">
                  <c:v>3449.9790000000012</c:v>
                </c:pt>
                <c:pt idx="6651">
                  <c:v>3446.52</c:v>
                </c:pt>
                <c:pt idx="6652">
                  <c:v>3444.7599999999998</c:v>
                </c:pt>
                <c:pt idx="6653">
                  <c:v>3443.7719999999999</c:v>
                </c:pt>
                <c:pt idx="6654">
                  <c:v>3442.2939999999999</c:v>
                </c:pt>
                <c:pt idx="6655">
                  <c:v>3439.5430000000001</c:v>
                </c:pt>
                <c:pt idx="6656">
                  <c:v>3438.23</c:v>
                </c:pt>
                <c:pt idx="6657">
                  <c:v>3436.3370000000027</c:v>
                </c:pt>
                <c:pt idx="6658">
                  <c:v>3432.0520000000001</c:v>
                </c:pt>
                <c:pt idx="6659">
                  <c:v>3431.8940000000002</c:v>
                </c:pt>
                <c:pt idx="6660">
                  <c:v>3429.3550000000027</c:v>
                </c:pt>
                <c:pt idx="6661">
                  <c:v>3427.5140000000006</c:v>
                </c:pt>
                <c:pt idx="6662">
                  <c:v>3425.5650000000001</c:v>
                </c:pt>
                <c:pt idx="6663">
                  <c:v>3423.0469999999987</c:v>
                </c:pt>
                <c:pt idx="6664">
                  <c:v>3420.5039999999999</c:v>
                </c:pt>
                <c:pt idx="6665">
                  <c:v>3416.0609999999997</c:v>
                </c:pt>
                <c:pt idx="6666">
                  <c:v>3413.0540000000001</c:v>
                </c:pt>
                <c:pt idx="6667">
                  <c:v>3411.3429999999998</c:v>
                </c:pt>
                <c:pt idx="6668">
                  <c:v>3410.9569999999999</c:v>
                </c:pt>
                <c:pt idx="6669">
                  <c:v>3409.6109999999999</c:v>
                </c:pt>
                <c:pt idx="6670">
                  <c:v>3405.6363888000001</c:v>
                </c:pt>
                <c:pt idx="6671">
                  <c:v>3401.5409999999997</c:v>
                </c:pt>
                <c:pt idx="6672">
                  <c:v>3400.9520000000002</c:v>
                </c:pt>
                <c:pt idx="6673">
                  <c:v>3400.192</c:v>
                </c:pt>
                <c:pt idx="6674">
                  <c:v>3398.348</c:v>
                </c:pt>
                <c:pt idx="6675">
                  <c:v>3397.4330000000027</c:v>
                </c:pt>
                <c:pt idx="6676">
                  <c:v>3395.5340000000001</c:v>
                </c:pt>
                <c:pt idx="6677">
                  <c:v>3395.2689999999975</c:v>
                </c:pt>
                <c:pt idx="6678">
                  <c:v>3392.6990000000005</c:v>
                </c:pt>
                <c:pt idx="6679">
                  <c:v>3387.8389999999999</c:v>
                </c:pt>
                <c:pt idx="6680">
                  <c:v>3385.72</c:v>
                </c:pt>
                <c:pt idx="6681">
                  <c:v>3383.9089999999997</c:v>
                </c:pt>
                <c:pt idx="6682">
                  <c:v>3382.7039999999997</c:v>
                </c:pt>
                <c:pt idx="6683">
                  <c:v>3381.723</c:v>
                </c:pt>
                <c:pt idx="6684">
                  <c:v>3377.32</c:v>
                </c:pt>
                <c:pt idx="6685">
                  <c:v>3374.9999999999995</c:v>
                </c:pt>
                <c:pt idx="6686">
                  <c:v>3374.683</c:v>
                </c:pt>
                <c:pt idx="6687">
                  <c:v>3372.7059999999997</c:v>
                </c:pt>
                <c:pt idx="6688">
                  <c:v>3372.6879999999987</c:v>
                </c:pt>
                <c:pt idx="6689">
                  <c:v>3372.1980000000003</c:v>
                </c:pt>
                <c:pt idx="6690">
                  <c:v>3372.1509999999998</c:v>
                </c:pt>
                <c:pt idx="6691">
                  <c:v>3371.0110000000022</c:v>
                </c:pt>
                <c:pt idx="6692">
                  <c:v>3370.9639999999995</c:v>
                </c:pt>
                <c:pt idx="6693">
                  <c:v>3370.5789999999997</c:v>
                </c:pt>
                <c:pt idx="6694">
                  <c:v>3370.36</c:v>
                </c:pt>
                <c:pt idx="6695">
                  <c:v>3368.8529999999996</c:v>
                </c:pt>
                <c:pt idx="6696">
                  <c:v>3368.84</c:v>
                </c:pt>
                <c:pt idx="6697">
                  <c:v>3368.1459999999997</c:v>
                </c:pt>
                <c:pt idx="6698">
                  <c:v>3366.9050000000002</c:v>
                </c:pt>
                <c:pt idx="6699">
                  <c:v>3363.3409999999999</c:v>
                </c:pt>
                <c:pt idx="6700">
                  <c:v>3361.82</c:v>
                </c:pt>
                <c:pt idx="6701">
                  <c:v>3361.7719999999999</c:v>
                </c:pt>
                <c:pt idx="6702">
                  <c:v>3361.6389999999997</c:v>
                </c:pt>
                <c:pt idx="6703">
                  <c:v>3359.8180000000002</c:v>
                </c:pt>
                <c:pt idx="6704">
                  <c:v>3359.4800000000005</c:v>
                </c:pt>
                <c:pt idx="6705">
                  <c:v>3358.7479999999987</c:v>
                </c:pt>
                <c:pt idx="6706">
                  <c:v>3358.5409999999997</c:v>
                </c:pt>
                <c:pt idx="6707">
                  <c:v>3357.3510000000028</c:v>
                </c:pt>
                <c:pt idx="6708">
                  <c:v>3357.1630000000005</c:v>
                </c:pt>
                <c:pt idx="6709">
                  <c:v>3356.1770000000001</c:v>
                </c:pt>
                <c:pt idx="6710">
                  <c:v>3355.085</c:v>
                </c:pt>
                <c:pt idx="6711">
                  <c:v>3353.7249999999967</c:v>
                </c:pt>
                <c:pt idx="6712">
                  <c:v>3351.7350000000001</c:v>
                </c:pt>
                <c:pt idx="6713">
                  <c:v>3351.5899999999997</c:v>
                </c:pt>
                <c:pt idx="6714">
                  <c:v>3347.4490000000001</c:v>
                </c:pt>
                <c:pt idx="6715">
                  <c:v>3345.7550000000001</c:v>
                </c:pt>
                <c:pt idx="6716">
                  <c:v>3343.8490000000002</c:v>
                </c:pt>
                <c:pt idx="6717">
                  <c:v>3343.65</c:v>
                </c:pt>
                <c:pt idx="6718">
                  <c:v>3343.2679999999987</c:v>
                </c:pt>
                <c:pt idx="6719">
                  <c:v>3342.2619999999997</c:v>
                </c:pt>
                <c:pt idx="6720">
                  <c:v>3341.5580000000004</c:v>
                </c:pt>
                <c:pt idx="6721">
                  <c:v>3339.6559999999999</c:v>
                </c:pt>
                <c:pt idx="6722">
                  <c:v>3338.482</c:v>
                </c:pt>
                <c:pt idx="6723">
                  <c:v>3338.4169999999999</c:v>
                </c:pt>
                <c:pt idx="6724">
                  <c:v>3336.4180000000001</c:v>
                </c:pt>
                <c:pt idx="6725">
                  <c:v>3336.3210000000022</c:v>
                </c:pt>
                <c:pt idx="6726">
                  <c:v>3335.94</c:v>
                </c:pt>
                <c:pt idx="6727">
                  <c:v>3333.6959999999999</c:v>
                </c:pt>
                <c:pt idx="6728">
                  <c:v>3333.4560000000001</c:v>
                </c:pt>
                <c:pt idx="6729">
                  <c:v>3328.9100000000012</c:v>
                </c:pt>
                <c:pt idx="6730">
                  <c:v>3328.0810000000001</c:v>
                </c:pt>
                <c:pt idx="6731">
                  <c:v>3327.1750000000002</c:v>
                </c:pt>
                <c:pt idx="6732">
                  <c:v>3326.6459999999997</c:v>
                </c:pt>
                <c:pt idx="6733">
                  <c:v>3325.9600000000005</c:v>
                </c:pt>
                <c:pt idx="6734">
                  <c:v>3323.1189999999997</c:v>
                </c:pt>
                <c:pt idx="6735">
                  <c:v>3322.7250000000004</c:v>
                </c:pt>
                <c:pt idx="6736">
                  <c:v>3320.5329999999999</c:v>
                </c:pt>
                <c:pt idx="6737">
                  <c:v>3320.2180000000008</c:v>
                </c:pt>
                <c:pt idx="6738">
                  <c:v>3317.5629999999987</c:v>
                </c:pt>
                <c:pt idx="6739">
                  <c:v>3315.7939999999999</c:v>
                </c:pt>
                <c:pt idx="6740">
                  <c:v>3315.4</c:v>
                </c:pt>
                <c:pt idx="6741">
                  <c:v>3314.6620000000003</c:v>
                </c:pt>
                <c:pt idx="6742">
                  <c:v>3314.4235550000012</c:v>
                </c:pt>
                <c:pt idx="6743">
                  <c:v>3312.134</c:v>
                </c:pt>
                <c:pt idx="6744">
                  <c:v>3312.0629999999987</c:v>
                </c:pt>
                <c:pt idx="6745">
                  <c:v>3309.107</c:v>
                </c:pt>
                <c:pt idx="6746">
                  <c:v>3308.9869999999987</c:v>
                </c:pt>
                <c:pt idx="6747">
                  <c:v>3306.692</c:v>
                </c:pt>
                <c:pt idx="6748">
                  <c:v>3306.1579999999999</c:v>
                </c:pt>
                <c:pt idx="6749">
                  <c:v>3305.3190000000022</c:v>
                </c:pt>
                <c:pt idx="6750">
                  <c:v>3304.692</c:v>
                </c:pt>
                <c:pt idx="6751">
                  <c:v>3303.5570000000002</c:v>
                </c:pt>
                <c:pt idx="6752">
                  <c:v>3301.8980000000001</c:v>
                </c:pt>
                <c:pt idx="6753">
                  <c:v>3300.6859999999997</c:v>
                </c:pt>
                <c:pt idx="6754">
                  <c:v>3299.3320000000012</c:v>
                </c:pt>
                <c:pt idx="6755">
                  <c:v>3298.8189999999995</c:v>
                </c:pt>
                <c:pt idx="6756">
                  <c:v>3297.6419999999998</c:v>
                </c:pt>
                <c:pt idx="6757">
                  <c:v>3294.8679999999995</c:v>
                </c:pt>
                <c:pt idx="6758">
                  <c:v>3292.5289999999968</c:v>
                </c:pt>
                <c:pt idx="6759">
                  <c:v>3290.8700000000022</c:v>
                </c:pt>
                <c:pt idx="6760">
                  <c:v>3289.567</c:v>
                </c:pt>
                <c:pt idx="6761">
                  <c:v>3289.0889999999972</c:v>
                </c:pt>
                <c:pt idx="6762">
                  <c:v>3289.0129999999999</c:v>
                </c:pt>
                <c:pt idx="6763">
                  <c:v>3287.1690000000003</c:v>
                </c:pt>
                <c:pt idx="6764">
                  <c:v>3286.9140000000002</c:v>
                </c:pt>
                <c:pt idx="6765">
                  <c:v>3285.3820000000001</c:v>
                </c:pt>
                <c:pt idx="6766">
                  <c:v>3283.3169999999996</c:v>
                </c:pt>
                <c:pt idx="6767">
                  <c:v>3281.5350000000012</c:v>
                </c:pt>
                <c:pt idx="6768">
                  <c:v>3280.6619999999998</c:v>
                </c:pt>
                <c:pt idx="6769">
                  <c:v>3276.1939999999995</c:v>
                </c:pt>
                <c:pt idx="6770">
                  <c:v>3275.4369999999999</c:v>
                </c:pt>
                <c:pt idx="6771">
                  <c:v>3274.86</c:v>
                </c:pt>
                <c:pt idx="6772">
                  <c:v>3274.7129999999997</c:v>
                </c:pt>
                <c:pt idx="6773">
                  <c:v>3273.4320000000002</c:v>
                </c:pt>
                <c:pt idx="6774">
                  <c:v>3271.0220000000008</c:v>
                </c:pt>
                <c:pt idx="6775">
                  <c:v>3269.1030000000005</c:v>
                </c:pt>
                <c:pt idx="6776">
                  <c:v>3269.0570000000002</c:v>
                </c:pt>
                <c:pt idx="6777">
                  <c:v>3259.9560000000001</c:v>
                </c:pt>
                <c:pt idx="6778">
                  <c:v>3259.8900000000012</c:v>
                </c:pt>
                <c:pt idx="6779">
                  <c:v>3259.1559999999999</c:v>
                </c:pt>
                <c:pt idx="6780">
                  <c:v>3256.9110000000028</c:v>
                </c:pt>
                <c:pt idx="6781">
                  <c:v>3252.6839999999997</c:v>
                </c:pt>
                <c:pt idx="6782">
                  <c:v>3252.2469999999967</c:v>
                </c:pt>
                <c:pt idx="6783">
                  <c:v>3252.0209999999997</c:v>
                </c:pt>
                <c:pt idx="6784">
                  <c:v>3248.279</c:v>
                </c:pt>
                <c:pt idx="6785">
                  <c:v>3243.7730000000001</c:v>
                </c:pt>
                <c:pt idx="6786">
                  <c:v>3243.6859999999997</c:v>
                </c:pt>
                <c:pt idx="6787">
                  <c:v>3241.8940000000002</c:v>
                </c:pt>
                <c:pt idx="6788">
                  <c:v>3241.7149999999997</c:v>
                </c:pt>
                <c:pt idx="6789">
                  <c:v>3239.9669999999987</c:v>
                </c:pt>
                <c:pt idx="6790">
                  <c:v>3239.3679999999999</c:v>
                </c:pt>
                <c:pt idx="6791">
                  <c:v>3239.3249999999998</c:v>
                </c:pt>
                <c:pt idx="6792">
                  <c:v>3236.2710000000002</c:v>
                </c:pt>
                <c:pt idx="6793">
                  <c:v>3235.8350000000028</c:v>
                </c:pt>
                <c:pt idx="6794">
                  <c:v>3225.0739999999996</c:v>
                </c:pt>
                <c:pt idx="6795">
                  <c:v>3223.0611670000012</c:v>
                </c:pt>
                <c:pt idx="6796">
                  <c:v>3218.7370000000001</c:v>
                </c:pt>
                <c:pt idx="6797">
                  <c:v>3218.1959999999999</c:v>
                </c:pt>
                <c:pt idx="6798">
                  <c:v>3217.0569999999998</c:v>
                </c:pt>
                <c:pt idx="6799">
                  <c:v>3216.3920000000012</c:v>
                </c:pt>
                <c:pt idx="6800">
                  <c:v>3215.0839999999998</c:v>
                </c:pt>
                <c:pt idx="6801">
                  <c:v>3214.5950000000012</c:v>
                </c:pt>
                <c:pt idx="6802">
                  <c:v>3212.7389999999987</c:v>
                </c:pt>
                <c:pt idx="6803">
                  <c:v>3210.9859999999999</c:v>
                </c:pt>
                <c:pt idx="6804">
                  <c:v>3210.7219999999998</c:v>
                </c:pt>
                <c:pt idx="6805">
                  <c:v>3209.9150000000022</c:v>
                </c:pt>
                <c:pt idx="6806">
                  <c:v>3209.7059999999997</c:v>
                </c:pt>
                <c:pt idx="6807">
                  <c:v>3208.3940000000002</c:v>
                </c:pt>
                <c:pt idx="6808">
                  <c:v>3208.0890000000004</c:v>
                </c:pt>
                <c:pt idx="6809">
                  <c:v>3205.9040000000005</c:v>
                </c:pt>
                <c:pt idx="6810">
                  <c:v>3205.2760000000003</c:v>
                </c:pt>
                <c:pt idx="6811">
                  <c:v>3203.96</c:v>
                </c:pt>
                <c:pt idx="6812">
                  <c:v>3203.6210000000001</c:v>
                </c:pt>
                <c:pt idx="6813">
                  <c:v>3201.7020000000007</c:v>
                </c:pt>
                <c:pt idx="6814">
                  <c:v>3201.163</c:v>
                </c:pt>
                <c:pt idx="6815">
                  <c:v>3200.4929999999999</c:v>
                </c:pt>
                <c:pt idx="6816">
                  <c:v>3197.5219999999999</c:v>
                </c:pt>
                <c:pt idx="6817">
                  <c:v>3196.6780000000003</c:v>
                </c:pt>
                <c:pt idx="6818">
                  <c:v>3194.7809999999972</c:v>
                </c:pt>
                <c:pt idx="6819">
                  <c:v>3194.6879999999987</c:v>
                </c:pt>
                <c:pt idx="6820">
                  <c:v>3194.6360000000004</c:v>
                </c:pt>
                <c:pt idx="6821">
                  <c:v>3193.1509999999998</c:v>
                </c:pt>
                <c:pt idx="6822">
                  <c:v>3192.5559999999996</c:v>
                </c:pt>
                <c:pt idx="6823">
                  <c:v>3186.634</c:v>
                </c:pt>
                <c:pt idx="6824">
                  <c:v>3183.8850000000002</c:v>
                </c:pt>
                <c:pt idx="6825">
                  <c:v>3181.1909999999998</c:v>
                </c:pt>
                <c:pt idx="6826">
                  <c:v>3179.0739999999996</c:v>
                </c:pt>
                <c:pt idx="6827">
                  <c:v>3179.0160000000001</c:v>
                </c:pt>
                <c:pt idx="6828">
                  <c:v>3173.2419999999997</c:v>
                </c:pt>
                <c:pt idx="6829">
                  <c:v>3168.9709999999995</c:v>
                </c:pt>
                <c:pt idx="6830">
                  <c:v>3167.0549999999998</c:v>
                </c:pt>
                <c:pt idx="6831">
                  <c:v>3164.8250000000012</c:v>
                </c:pt>
                <c:pt idx="6832">
                  <c:v>3159.2560000000003</c:v>
                </c:pt>
                <c:pt idx="6833">
                  <c:v>3158.86</c:v>
                </c:pt>
                <c:pt idx="6834">
                  <c:v>3156.9479999999999</c:v>
                </c:pt>
                <c:pt idx="6835">
                  <c:v>3155.4620000000004</c:v>
                </c:pt>
                <c:pt idx="6836">
                  <c:v>3155.06</c:v>
                </c:pt>
                <c:pt idx="6837">
                  <c:v>3154.9920000000002</c:v>
                </c:pt>
                <c:pt idx="6838">
                  <c:v>3154.1989999999987</c:v>
                </c:pt>
                <c:pt idx="6839">
                  <c:v>3151.7049999999972</c:v>
                </c:pt>
                <c:pt idx="6840">
                  <c:v>3150.5799999999995</c:v>
                </c:pt>
                <c:pt idx="6841">
                  <c:v>3143.7339999999995</c:v>
                </c:pt>
                <c:pt idx="6842">
                  <c:v>3140.4879999999998</c:v>
                </c:pt>
                <c:pt idx="6843">
                  <c:v>3138.3960000000002</c:v>
                </c:pt>
                <c:pt idx="6844">
                  <c:v>3137.6980000000003</c:v>
                </c:pt>
                <c:pt idx="6845">
                  <c:v>3137.2250000000004</c:v>
                </c:pt>
                <c:pt idx="6846">
                  <c:v>3136.1930000000002</c:v>
                </c:pt>
                <c:pt idx="6847">
                  <c:v>3133.364</c:v>
                </c:pt>
                <c:pt idx="6848">
                  <c:v>3126.2219999999998</c:v>
                </c:pt>
                <c:pt idx="6849">
                  <c:v>3125.3190000000022</c:v>
                </c:pt>
                <c:pt idx="6850">
                  <c:v>3124.1919999999996</c:v>
                </c:pt>
                <c:pt idx="6851">
                  <c:v>3122.4839999999995</c:v>
                </c:pt>
                <c:pt idx="6852">
                  <c:v>3116.1439999999998</c:v>
                </c:pt>
                <c:pt idx="6853">
                  <c:v>3112.5070000000001</c:v>
                </c:pt>
                <c:pt idx="6854">
                  <c:v>3110.3140000000012</c:v>
                </c:pt>
                <c:pt idx="6855">
                  <c:v>3109.8180000000002</c:v>
                </c:pt>
                <c:pt idx="6856">
                  <c:v>3108.6529999999998</c:v>
                </c:pt>
                <c:pt idx="6857">
                  <c:v>3108.3340000000012</c:v>
                </c:pt>
                <c:pt idx="6858">
                  <c:v>3107.7389999999987</c:v>
                </c:pt>
                <c:pt idx="6859">
                  <c:v>3106.9650000000001</c:v>
                </c:pt>
                <c:pt idx="6860">
                  <c:v>3105.6379999999999</c:v>
                </c:pt>
                <c:pt idx="6861">
                  <c:v>3102.1239999999998</c:v>
                </c:pt>
                <c:pt idx="6862">
                  <c:v>3101.5439999999999</c:v>
                </c:pt>
                <c:pt idx="6863">
                  <c:v>3101.5000000000005</c:v>
                </c:pt>
                <c:pt idx="6864">
                  <c:v>3101.1929999999998</c:v>
                </c:pt>
                <c:pt idx="6865">
                  <c:v>3100.6200000000003</c:v>
                </c:pt>
                <c:pt idx="6866">
                  <c:v>3100.2709999999997</c:v>
                </c:pt>
                <c:pt idx="6867">
                  <c:v>3099.9290000000001</c:v>
                </c:pt>
                <c:pt idx="6868">
                  <c:v>3098.1790000000001</c:v>
                </c:pt>
                <c:pt idx="6869">
                  <c:v>3098.1580000000004</c:v>
                </c:pt>
                <c:pt idx="6870">
                  <c:v>3098.1229999999987</c:v>
                </c:pt>
                <c:pt idx="6871">
                  <c:v>3093.7960000000003</c:v>
                </c:pt>
                <c:pt idx="6872">
                  <c:v>3093.4219999999996</c:v>
                </c:pt>
                <c:pt idx="6873">
                  <c:v>3092.9360000000001</c:v>
                </c:pt>
                <c:pt idx="6874">
                  <c:v>3092.0370000000012</c:v>
                </c:pt>
                <c:pt idx="6875">
                  <c:v>3091.9910000000027</c:v>
                </c:pt>
                <c:pt idx="6876">
                  <c:v>3088.8050000000012</c:v>
                </c:pt>
                <c:pt idx="6877">
                  <c:v>3088.3320000000012</c:v>
                </c:pt>
                <c:pt idx="6878">
                  <c:v>3087.7069999999967</c:v>
                </c:pt>
                <c:pt idx="6879">
                  <c:v>3086.6089999999967</c:v>
                </c:pt>
                <c:pt idx="6880">
                  <c:v>3086.6079999999997</c:v>
                </c:pt>
                <c:pt idx="6881">
                  <c:v>3085.92</c:v>
                </c:pt>
                <c:pt idx="6882">
                  <c:v>3085.3320000000012</c:v>
                </c:pt>
                <c:pt idx="6883">
                  <c:v>3084.2180000000003</c:v>
                </c:pt>
                <c:pt idx="6884">
                  <c:v>3081.3560000000002</c:v>
                </c:pt>
                <c:pt idx="6885">
                  <c:v>3079.3710000000028</c:v>
                </c:pt>
                <c:pt idx="6886">
                  <c:v>3078.498</c:v>
                </c:pt>
                <c:pt idx="6887">
                  <c:v>3074.3069999999998</c:v>
                </c:pt>
                <c:pt idx="6888">
                  <c:v>3073.8540000000012</c:v>
                </c:pt>
                <c:pt idx="6889">
                  <c:v>3073.5619999999999</c:v>
                </c:pt>
                <c:pt idx="6890">
                  <c:v>3072.701</c:v>
                </c:pt>
                <c:pt idx="6891">
                  <c:v>3072.3920000000012</c:v>
                </c:pt>
                <c:pt idx="6892">
                  <c:v>3072.0609999999997</c:v>
                </c:pt>
                <c:pt idx="6893">
                  <c:v>3071.9690000000001</c:v>
                </c:pt>
                <c:pt idx="6894">
                  <c:v>3071.3709999999996</c:v>
                </c:pt>
                <c:pt idx="6895">
                  <c:v>3070.1180000000004</c:v>
                </c:pt>
                <c:pt idx="6896">
                  <c:v>3068.8950000000027</c:v>
                </c:pt>
                <c:pt idx="6897">
                  <c:v>3067.8020000000001</c:v>
                </c:pt>
                <c:pt idx="6898">
                  <c:v>3065.5169999999998</c:v>
                </c:pt>
                <c:pt idx="6899">
                  <c:v>3065.4570000000012</c:v>
                </c:pt>
                <c:pt idx="6900">
                  <c:v>3065.36</c:v>
                </c:pt>
                <c:pt idx="6901">
                  <c:v>3064.1330000000012</c:v>
                </c:pt>
                <c:pt idx="6902">
                  <c:v>3062.0610000000001</c:v>
                </c:pt>
                <c:pt idx="6903">
                  <c:v>3059.4160000000002</c:v>
                </c:pt>
                <c:pt idx="6904">
                  <c:v>3058.4760000000001</c:v>
                </c:pt>
                <c:pt idx="6905">
                  <c:v>3057.2139999999999</c:v>
                </c:pt>
                <c:pt idx="6906">
                  <c:v>3057.0250000000001</c:v>
                </c:pt>
                <c:pt idx="6907">
                  <c:v>3056.0790000000006</c:v>
                </c:pt>
                <c:pt idx="6908">
                  <c:v>3053.6109999999999</c:v>
                </c:pt>
                <c:pt idx="6909">
                  <c:v>3052.5970000000002</c:v>
                </c:pt>
                <c:pt idx="6910">
                  <c:v>3052.096</c:v>
                </c:pt>
                <c:pt idx="6911">
                  <c:v>3049.6839999999993</c:v>
                </c:pt>
                <c:pt idx="6912">
                  <c:v>3049.1379999999999</c:v>
                </c:pt>
                <c:pt idx="6913">
                  <c:v>3047.6220000000003</c:v>
                </c:pt>
                <c:pt idx="6914">
                  <c:v>3046.8220000000001</c:v>
                </c:pt>
                <c:pt idx="6915">
                  <c:v>3045.6010000000001</c:v>
                </c:pt>
                <c:pt idx="6916">
                  <c:v>3044.0969999999998</c:v>
                </c:pt>
                <c:pt idx="6917">
                  <c:v>3044.0260559999997</c:v>
                </c:pt>
                <c:pt idx="6918">
                  <c:v>3042.9010000000012</c:v>
                </c:pt>
                <c:pt idx="6919">
                  <c:v>3042</c:v>
                </c:pt>
                <c:pt idx="6920">
                  <c:v>3039.0590000000002</c:v>
                </c:pt>
                <c:pt idx="6921">
                  <c:v>3034.8510000000024</c:v>
                </c:pt>
                <c:pt idx="6922">
                  <c:v>3034.4260000000004</c:v>
                </c:pt>
                <c:pt idx="6923">
                  <c:v>3033.1850000000004</c:v>
                </c:pt>
                <c:pt idx="6924">
                  <c:v>3031.8260000000005</c:v>
                </c:pt>
                <c:pt idx="6925">
                  <c:v>3029.1469999999972</c:v>
                </c:pt>
                <c:pt idx="6926">
                  <c:v>3025.2340000000004</c:v>
                </c:pt>
                <c:pt idx="6927">
                  <c:v>3025.0929999999998</c:v>
                </c:pt>
                <c:pt idx="6928">
                  <c:v>3024.2370000000001</c:v>
                </c:pt>
                <c:pt idx="6929">
                  <c:v>3023.9780000000001</c:v>
                </c:pt>
                <c:pt idx="6930">
                  <c:v>3023.0389999999998</c:v>
                </c:pt>
                <c:pt idx="6931">
                  <c:v>3021.3980000000001</c:v>
                </c:pt>
                <c:pt idx="6932">
                  <c:v>3019.6329449999998</c:v>
                </c:pt>
                <c:pt idx="6933">
                  <c:v>3018.0680000000007</c:v>
                </c:pt>
                <c:pt idx="6934">
                  <c:v>3017.9110000000028</c:v>
                </c:pt>
                <c:pt idx="6935">
                  <c:v>3017.4659999999999</c:v>
                </c:pt>
                <c:pt idx="6936">
                  <c:v>3016.6993889999999</c:v>
                </c:pt>
                <c:pt idx="6937">
                  <c:v>3016.1780000000003</c:v>
                </c:pt>
                <c:pt idx="6938">
                  <c:v>3012.5059999999999</c:v>
                </c:pt>
                <c:pt idx="6939">
                  <c:v>3011.018</c:v>
                </c:pt>
                <c:pt idx="6940">
                  <c:v>3010.556</c:v>
                </c:pt>
                <c:pt idx="6941">
                  <c:v>3009.9900000000002</c:v>
                </c:pt>
                <c:pt idx="6942">
                  <c:v>3008.8849999999998</c:v>
                </c:pt>
                <c:pt idx="6943">
                  <c:v>3008.7309999999998</c:v>
                </c:pt>
                <c:pt idx="6944">
                  <c:v>3007.7659999999987</c:v>
                </c:pt>
                <c:pt idx="6945">
                  <c:v>3005.6930000000002</c:v>
                </c:pt>
                <c:pt idx="6946">
                  <c:v>3003.9479999999999</c:v>
                </c:pt>
                <c:pt idx="6947">
                  <c:v>2997.7749999999987</c:v>
                </c:pt>
                <c:pt idx="6948">
                  <c:v>2997.6089999999963</c:v>
                </c:pt>
                <c:pt idx="6949">
                  <c:v>2994.21</c:v>
                </c:pt>
                <c:pt idx="6950">
                  <c:v>2993.3760000000002</c:v>
                </c:pt>
                <c:pt idx="6951">
                  <c:v>2992.4789999999998</c:v>
                </c:pt>
                <c:pt idx="6952">
                  <c:v>2991.4310000000028</c:v>
                </c:pt>
                <c:pt idx="6953">
                  <c:v>2987.2370000000001</c:v>
                </c:pt>
                <c:pt idx="6954">
                  <c:v>2985.7839999999997</c:v>
                </c:pt>
                <c:pt idx="6955">
                  <c:v>2983.0450000000005</c:v>
                </c:pt>
                <c:pt idx="6956">
                  <c:v>2980.7109999999998</c:v>
                </c:pt>
                <c:pt idx="6957">
                  <c:v>2980.6859999999997</c:v>
                </c:pt>
                <c:pt idx="6958">
                  <c:v>2979.1329999999998</c:v>
                </c:pt>
                <c:pt idx="6959">
                  <c:v>2977.6529999999998</c:v>
                </c:pt>
                <c:pt idx="6960">
                  <c:v>2973.0650000000001</c:v>
                </c:pt>
                <c:pt idx="6961">
                  <c:v>2970.547</c:v>
                </c:pt>
                <c:pt idx="6962">
                  <c:v>2970.0850000000005</c:v>
                </c:pt>
                <c:pt idx="6963">
                  <c:v>2968.58</c:v>
                </c:pt>
                <c:pt idx="6964">
                  <c:v>2967.6150000000002</c:v>
                </c:pt>
                <c:pt idx="6965">
                  <c:v>2965.989</c:v>
                </c:pt>
                <c:pt idx="6966">
                  <c:v>2962.5627219999997</c:v>
                </c:pt>
                <c:pt idx="6967">
                  <c:v>2961.2560000000003</c:v>
                </c:pt>
                <c:pt idx="6968">
                  <c:v>2958.0740000000001</c:v>
                </c:pt>
                <c:pt idx="6969">
                  <c:v>2956.2489999999966</c:v>
                </c:pt>
                <c:pt idx="6970">
                  <c:v>2955.049</c:v>
                </c:pt>
                <c:pt idx="6971">
                  <c:v>2954.1649999999963</c:v>
                </c:pt>
                <c:pt idx="6972">
                  <c:v>2952.2619999999997</c:v>
                </c:pt>
                <c:pt idx="6973">
                  <c:v>2950.9100000000012</c:v>
                </c:pt>
                <c:pt idx="6974">
                  <c:v>2949.12</c:v>
                </c:pt>
                <c:pt idx="6975">
                  <c:v>2947.6079999999997</c:v>
                </c:pt>
                <c:pt idx="6976">
                  <c:v>2946.7030000000004</c:v>
                </c:pt>
                <c:pt idx="6977">
                  <c:v>2940.3369999999995</c:v>
                </c:pt>
                <c:pt idx="6978">
                  <c:v>2937.1389999999997</c:v>
                </c:pt>
                <c:pt idx="6979">
                  <c:v>2935.578</c:v>
                </c:pt>
                <c:pt idx="6980">
                  <c:v>2933.0979999999995</c:v>
                </c:pt>
                <c:pt idx="6981">
                  <c:v>2930.9389999999999</c:v>
                </c:pt>
                <c:pt idx="6982">
                  <c:v>2930.8990000000022</c:v>
                </c:pt>
                <c:pt idx="6983">
                  <c:v>2930.3649999999998</c:v>
                </c:pt>
                <c:pt idx="6984">
                  <c:v>2929.8500000000022</c:v>
                </c:pt>
                <c:pt idx="6985">
                  <c:v>2929.1179999999999</c:v>
                </c:pt>
                <c:pt idx="6986">
                  <c:v>2925.7689999999966</c:v>
                </c:pt>
                <c:pt idx="6987">
                  <c:v>2922.998</c:v>
                </c:pt>
                <c:pt idx="6988">
                  <c:v>2921.7110000000002</c:v>
                </c:pt>
                <c:pt idx="6989">
                  <c:v>2921.2559999999999</c:v>
                </c:pt>
                <c:pt idx="6990">
                  <c:v>2920.2169999999987</c:v>
                </c:pt>
                <c:pt idx="6991">
                  <c:v>2919.7439999999997</c:v>
                </c:pt>
                <c:pt idx="6992">
                  <c:v>2918.24</c:v>
                </c:pt>
                <c:pt idx="6993">
                  <c:v>2917.7200000000003</c:v>
                </c:pt>
                <c:pt idx="6994">
                  <c:v>2916.8350000000028</c:v>
                </c:pt>
                <c:pt idx="6995">
                  <c:v>2915.2339999999999</c:v>
                </c:pt>
                <c:pt idx="6996">
                  <c:v>2914.8340000000012</c:v>
                </c:pt>
                <c:pt idx="6997">
                  <c:v>2913.5969999999998</c:v>
                </c:pt>
                <c:pt idx="6998">
                  <c:v>2910.567</c:v>
                </c:pt>
                <c:pt idx="6999">
                  <c:v>2909.7920000000004</c:v>
                </c:pt>
                <c:pt idx="7000">
                  <c:v>2908.1220000000003</c:v>
                </c:pt>
                <c:pt idx="7001">
                  <c:v>2908.0729999999999</c:v>
                </c:pt>
                <c:pt idx="7002">
                  <c:v>2907.1530000000002</c:v>
                </c:pt>
                <c:pt idx="7003">
                  <c:v>2906.6220000000003</c:v>
                </c:pt>
                <c:pt idx="7004">
                  <c:v>2904.2189999999987</c:v>
                </c:pt>
                <c:pt idx="7005">
                  <c:v>2900.5</c:v>
                </c:pt>
                <c:pt idx="7006">
                  <c:v>2899.4360000000001</c:v>
                </c:pt>
                <c:pt idx="7007">
                  <c:v>2897.5709999999999</c:v>
                </c:pt>
                <c:pt idx="7008">
                  <c:v>2897.2559999999999</c:v>
                </c:pt>
                <c:pt idx="7009">
                  <c:v>2896.4479999999999</c:v>
                </c:pt>
                <c:pt idx="7010">
                  <c:v>2895.9390000000012</c:v>
                </c:pt>
                <c:pt idx="7011">
                  <c:v>2890.538</c:v>
                </c:pt>
                <c:pt idx="7012">
                  <c:v>2889.3770000000022</c:v>
                </c:pt>
                <c:pt idx="7013">
                  <c:v>2889.299</c:v>
                </c:pt>
                <c:pt idx="7014">
                  <c:v>2888.7959999999998</c:v>
                </c:pt>
                <c:pt idx="7015">
                  <c:v>2888.4540000000002</c:v>
                </c:pt>
                <c:pt idx="7016">
                  <c:v>2885.0750000000012</c:v>
                </c:pt>
                <c:pt idx="7017">
                  <c:v>2880.1439999999998</c:v>
                </c:pt>
                <c:pt idx="7018">
                  <c:v>2880</c:v>
                </c:pt>
                <c:pt idx="7019">
                  <c:v>2879.8569999999995</c:v>
                </c:pt>
                <c:pt idx="7020">
                  <c:v>2879.6589999999997</c:v>
                </c:pt>
                <c:pt idx="7021">
                  <c:v>2878.9910000000027</c:v>
                </c:pt>
                <c:pt idx="7022">
                  <c:v>2878.634</c:v>
                </c:pt>
                <c:pt idx="7023">
                  <c:v>2877.9929999999999</c:v>
                </c:pt>
                <c:pt idx="7024">
                  <c:v>2874.8710000000028</c:v>
                </c:pt>
                <c:pt idx="7025">
                  <c:v>2873.6439999999998</c:v>
                </c:pt>
                <c:pt idx="7026">
                  <c:v>2870.4160000000002</c:v>
                </c:pt>
                <c:pt idx="7027">
                  <c:v>2867.77</c:v>
                </c:pt>
                <c:pt idx="7028">
                  <c:v>2865.4250000000002</c:v>
                </c:pt>
                <c:pt idx="7029">
                  <c:v>2862.8820000000001</c:v>
                </c:pt>
                <c:pt idx="7030">
                  <c:v>2860.194</c:v>
                </c:pt>
                <c:pt idx="7031">
                  <c:v>2855.7079999999987</c:v>
                </c:pt>
                <c:pt idx="7032">
                  <c:v>2853.8330000000028</c:v>
                </c:pt>
                <c:pt idx="7033">
                  <c:v>2852.3259999999996</c:v>
                </c:pt>
                <c:pt idx="7034">
                  <c:v>2851.82</c:v>
                </c:pt>
                <c:pt idx="7035">
                  <c:v>2851.7130000000002</c:v>
                </c:pt>
                <c:pt idx="7036">
                  <c:v>2848.0150000000012</c:v>
                </c:pt>
                <c:pt idx="7037">
                  <c:v>2847.6239999999998</c:v>
                </c:pt>
                <c:pt idx="7038">
                  <c:v>2844.8908889999998</c:v>
                </c:pt>
                <c:pt idx="7039">
                  <c:v>2843.5479999999998</c:v>
                </c:pt>
                <c:pt idx="7040">
                  <c:v>2842.9770000000012</c:v>
                </c:pt>
                <c:pt idx="7041">
                  <c:v>2840.152</c:v>
                </c:pt>
                <c:pt idx="7042">
                  <c:v>2839.7449999999967</c:v>
                </c:pt>
                <c:pt idx="7043">
                  <c:v>2836.1190000000001</c:v>
                </c:pt>
                <c:pt idx="7044">
                  <c:v>2833.643</c:v>
                </c:pt>
                <c:pt idx="7045">
                  <c:v>2833.3913330000059</c:v>
                </c:pt>
                <c:pt idx="7046">
                  <c:v>2831.7159999999999</c:v>
                </c:pt>
                <c:pt idx="7047">
                  <c:v>2830.636</c:v>
                </c:pt>
                <c:pt idx="7048">
                  <c:v>2826.7889999999961</c:v>
                </c:pt>
                <c:pt idx="7049">
                  <c:v>2826.7629999999967</c:v>
                </c:pt>
                <c:pt idx="7050">
                  <c:v>2824.5810000000006</c:v>
                </c:pt>
                <c:pt idx="7051">
                  <c:v>2824.2449999999967</c:v>
                </c:pt>
                <c:pt idx="7052">
                  <c:v>2823.6300000000006</c:v>
                </c:pt>
                <c:pt idx="7053">
                  <c:v>2820.7539999999999</c:v>
                </c:pt>
                <c:pt idx="7054">
                  <c:v>2820.6370000000002</c:v>
                </c:pt>
                <c:pt idx="7055">
                  <c:v>2818.5309999999999</c:v>
                </c:pt>
                <c:pt idx="7056">
                  <c:v>2816.72</c:v>
                </c:pt>
                <c:pt idx="7057">
                  <c:v>2815.5599999999995</c:v>
                </c:pt>
                <c:pt idx="7058">
                  <c:v>2815.1859999999997</c:v>
                </c:pt>
                <c:pt idx="7059">
                  <c:v>2813.4289999999987</c:v>
                </c:pt>
                <c:pt idx="7060">
                  <c:v>2810.27</c:v>
                </c:pt>
                <c:pt idx="7061">
                  <c:v>2809.989</c:v>
                </c:pt>
                <c:pt idx="7062">
                  <c:v>2807.6220000000003</c:v>
                </c:pt>
                <c:pt idx="7063">
                  <c:v>2807.0070000000001</c:v>
                </c:pt>
                <c:pt idx="7064">
                  <c:v>2806.194</c:v>
                </c:pt>
                <c:pt idx="7065">
                  <c:v>2803.1330000000012</c:v>
                </c:pt>
                <c:pt idx="7066">
                  <c:v>2803.06</c:v>
                </c:pt>
                <c:pt idx="7067">
                  <c:v>2802.7739999999999</c:v>
                </c:pt>
                <c:pt idx="7068">
                  <c:v>2801.0830000000001</c:v>
                </c:pt>
                <c:pt idx="7069">
                  <c:v>2799.0530000000012</c:v>
                </c:pt>
                <c:pt idx="7070">
                  <c:v>2799.0059999999999</c:v>
                </c:pt>
                <c:pt idx="7071">
                  <c:v>2798.6279999999997</c:v>
                </c:pt>
                <c:pt idx="7072">
                  <c:v>2796.9160000000002</c:v>
                </c:pt>
                <c:pt idx="7073">
                  <c:v>2795.0800000000004</c:v>
                </c:pt>
                <c:pt idx="7074">
                  <c:v>2793.547</c:v>
                </c:pt>
                <c:pt idx="7075">
                  <c:v>2790.7730000000001</c:v>
                </c:pt>
                <c:pt idx="7076">
                  <c:v>2790.2473889999997</c:v>
                </c:pt>
                <c:pt idx="7077">
                  <c:v>2789.5316113000022</c:v>
                </c:pt>
                <c:pt idx="7078">
                  <c:v>2786.7510000000002</c:v>
                </c:pt>
                <c:pt idx="7079">
                  <c:v>2786.2859999999987</c:v>
                </c:pt>
                <c:pt idx="7080">
                  <c:v>2785.6179999999999</c:v>
                </c:pt>
                <c:pt idx="7081">
                  <c:v>2784.7360000000003</c:v>
                </c:pt>
                <c:pt idx="7082">
                  <c:v>2783.866</c:v>
                </c:pt>
                <c:pt idx="7083">
                  <c:v>2783.3620000000001</c:v>
                </c:pt>
                <c:pt idx="7084">
                  <c:v>2781.3039999999996</c:v>
                </c:pt>
                <c:pt idx="7085">
                  <c:v>2780.136</c:v>
                </c:pt>
                <c:pt idx="7086">
                  <c:v>2779.5950000000012</c:v>
                </c:pt>
                <c:pt idx="7087">
                  <c:v>2778.8540000000012</c:v>
                </c:pt>
                <c:pt idx="7088">
                  <c:v>2777.9</c:v>
                </c:pt>
                <c:pt idx="7089">
                  <c:v>2777.3409999999999</c:v>
                </c:pt>
                <c:pt idx="7090">
                  <c:v>2777.0469999999987</c:v>
                </c:pt>
                <c:pt idx="7091">
                  <c:v>2775.489</c:v>
                </c:pt>
                <c:pt idx="7092">
                  <c:v>2774.3129999999996</c:v>
                </c:pt>
                <c:pt idx="7093">
                  <c:v>2773.5479999999998</c:v>
                </c:pt>
                <c:pt idx="7094">
                  <c:v>2773.3290000000002</c:v>
                </c:pt>
                <c:pt idx="7095">
                  <c:v>2772.9150000000022</c:v>
                </c:pt>
                <c:pt idx="7096">
                  <c:v>2772.0990000000002</c:v>
                </c:pt>
                <c:pt idx="7097">
                  <c:v>2771.9700000000012</c:v>
                </c:pt>
                <c:pt idx="7098">
                  <c:v>2771.6459999999997</c:v>
                </c:pt>
                <c:pt idx="7099">
                  <c:v>2771.1170000000002</c:v>
                </c:pt>
                <c:pt idx="7100">
                  <c:v>2766.7089999999966</c:v>
                </c:pt>
                <c:pt idx="7101">
                  <c:v>2763.7530000000002</c:v>
                </c:pt>
                <c:pt idx="7102">
                  <c:v>2763.08</c:v>
                </c:pt>
                <c:pt idx="7103">
                  <c:v>2761.0430000000001</c:v>
                </c:pt>
                <c:pt idx="7104">
                  <c:v>2760.7089999999966</c:v>
                </c:pt>
                <c:pt idx="7105">
                  <c:v>2759.8270000000002</c:v>
                </c:pt>
                <c:pt idx="7106">
                  <c:v>2755.8980000000001</c:v>
                </c:pt>
                <c:pt idx="7107">
                  <c:v>2755.7389999999987</c:v>
                </c:pt>
                <c:pt idx="7108">
                  <c:v>2754.5349999999994</c:v>
                </c:pt>
                <c:pt idx="7109">
                  <c:v>2752.3020000000001</c:v>
                </c:pt>
                <c:pt idx="7110">
                  <c:v>2747.9570000000012</c:v>
                </c:pt>
                <c:pt idx="7111">
                  <c:v>2745.9879999999998</c:v>
                </c:pt>
                <c:pt idx="7112">
                  <c:v>2744.9809999999998</c:v>
                </c:pt>
                <c:pt idx="7113">
                  <c:v>2743.8829999999998</c:v>
                </c:pt>
                <c:pt idx="7114">
                  <c:v>2743.6179999999999</c:v>
                </c:pt>
                <c:pt idx="7115">
                  <c:v>2742.6149999999998</c:v>
                </c:pt>
                <c:pt idx="7116">
                  <c:v>2742.1001670000005</c:v>
                </c:pt>
                <c:pt idx="7117">
                  <c:v>2740.6700000000005</c:v>
                </c:pt>
                <c:pt idx="7118">
                  <c:v>2738.087</c:v>
                </c:pt>
                <c:pt idx="7119">
                  <c:v>2737.8450000000012</c:v>
                </c:pt>
                <c:pt idx="7120">
                  <c:v>2735.7449999999967</c:v>
                </c:pt>
                <c:pt idx="7121">
                  <c:v>2735.732</c:v>
                </c:pt>
                <c:pt idx="7122">
                  <c:v>2733.0729999999999</c:v>
                </c:pt>
                <c:pt idx="7123">
                  <c:v>2732.7879999999968</c:v>
                </c:pt>
                <c:pt idx="7124">
                  <c:v>2730.4430000000002</c:v>
                </c:pt>
                <c:pt idx="7125">
                  <c:v>2729.8649999999993</c:v>
                </c:pt>
                <c:pt idx="7126">
                  <c:v>2729.63</c:v>
                </c:pt>
                <c:pt idx="7127">
                  <c:v>2728.9830000000006</c:v>
                </c:pt>
                <c:pt idx="7128">
                  <c:v>2728.8679999999999</c:v>
                </c:pt>
                <c:pt idx="7129">
                  <c:v>2724.1669999999967</c:v>
                </c:pt>
                <c:pt idx="7130">
                  <c:v>2723.5149999999999</c:v>
                </c:pt>
                <c:pt idx="7131">
                  <c:v>2722.3490000000002</c:v>
                </c:pt>
                <c:pt idx="7132">
                  <c:v>2718.614</c:v>
                </c:pt>
                <c:pt idx="7133">
                  <c:v>2717.4289999999987</c:v>
                </c:pt>
                <c:pt idx="7134">
                  <c:v>2715.2479999999987</c:v>
                </c:pt>
                <c:pt idx="7135">
                  <c:v>2711.8180000000002</c:v>
                </c:pt>
                <c:pt idx="7136">
                  <c:v>2710.134</c:v>
                </c:pt>
                <c:pt idx="7137">
                  <c:v>2707.9659999999999</c:v>
                </c:pt>
                <c:pt idx="7138">
                  <c:v>2707.1989999999987</c:v>
                </c:pt>
                <c:pt idx="7139">
                  <c:v>2704.326</c:v>
                </c:pt>
                <c:pt idx="7140">
                  <c:v>2704.02</c:v>
                </c:pt>
                <c:pt idx="7141">
                  <c:v>2703.9529999999995</c:v>
                </c:pt>
                <c:pt idx="7142">
                  <c:v>2700.1079999999997</c:v>
                </c:pt>
                <c:pt idx="7143">
                  <c:v>2697.2799999999997</c:v>
                </c:pt>
                <c:pt idx="7144">
                  <c:v>2695.203</c:v>
                </c:pt>
                <c:pt idx="7145">
                  <c:v>2695.1190000000001</c:v>
                </c:pt>
                <c:pt idx="7146">
                  <c:v>2695.0240000000003</c:v>
                </c:pt>
                <c:pt idx="7147">
                  <c:v>2694.9500000000012</c:v>
                </c:pt>
                <c:pt idx="7148">
                  <c:v>2693.4960000000001</c:v>
                </c:pt>
                <c:pt idx="7149">
                  <c:v>2692.2830000000004</c:v>
                </c:pt>
                <c:pt idx="7150">
                  <c:v>2688.172</c:v>
                </c:pt>
                <c:pt idx="7151">
                  <c:v>2684.4509999999996</c:v>
                </c:pt>
                <c:pt idx="7152">
                  <c:v>2684.1990000000001</c:v>
                </c:pt>
                <c:pt idx="7153">
                  <c:v>2683.64</c:v>
                </c:pt>
                <c:pt idx="7154">
                  <c:v>2679.8879999999999</c:v>
                </c:pt>
                <c:pt idx="7155">
                  <c:v>2676.4710000000027</c:v>
                </c:pt>
                <c:pt idx="7156">
                  <c:v>2674.386</c:v>
                </c:pt>
                <c:pt idx="7157">
                  <c:v>2674.3560000000002</c:v>
                </c:pt>
                <c:pt idx="7158">
                  <c:v>2673.5660000000003</c:v>
                </c:pt>
                <c:pt idx="7159">
                  <c:v>2673.069</c:v>
                </c:pt>
                <c:pt idx="7160">
                  <c:v>2671.1619999999998</c:v>
                </c:pt>
                <c:pt idx="7161">
                  <c:v>2668.7969999999987</c:v>
                </c:pt>
                <c:pt idx="7162">
                  <c:v>2668.7950000000001</c:v>
                </c:pt>
                <c:pt idx="7163">
                  <c:v>2667.4859999999999</c:v>
                </c:pt>
                <c:pt idx="7164">
                  <c:v>2666.4920000000002</c:v>
                </c:pt>
                <c:pt idx="7165">
                  <c:v>2665.9170000000022</c:v>
                </c:pt>
                <c:pt idx="7166">
                  <c:v>2664.5669999999968</c:v>
                </c:pt>
                <c:pt idx="7167">
                  <c:v>2663.1095560000012</c:v>
                </c:pt>
                <c:pt idx="7168">
                  <c:v>2657.4450000000002</c:v>
                </c:pt>
                <c:pt idx="7169">
                  <c:v>2656.0070000000005</c:v>
                </c:pt>
                <c:pt idx="7170">
                  <c:v>2653.8169999999996</c:v>
                </c:pt>
                <c:pt idx="7171">
                  <c:v>2652.518</c:v>
                </c:pt>
                <c:pt idx="7172">
                  <c:v>2649.578</c:v>
                </c:pt>
                <c:pt idx="7173">
                  <c:v>2649.1079999999997</c:v>
                </c:pt>
                <c:pt idx="7174">
                  <c:v>2647.1109999999999</c:v>
                </c:pt>
                <c:pt idx="7175">
                  <c:v>2645.84</c:v>
                </c:pt>
                <c:pt idx="7176">
                  <c:v>2643.7710000000002</c:v>
                </c:pt>
                <c:pt idx="7177">
                  <c:v>2642.107</c:v>
                </c:pt>
                <c:pt idx="7178">
                  <c:v>2641.3300000000022</c:v>
                </c:pt>
                <c:pt idx="7179">
                  <c:v>2641.19</c:v>
                </c:pt>
                <c:pt idx="7180">
                  <c:v>2639.3029999999999</c:v>
                </c:pt>
                <c:pt idx="7181">
                  <c:v>2639.0220000000004</c:v>
                </c:pt>
                <c:pt idx="7182">
                  <c:v>2634.7829999999967</c:v>
                </c:pt>
                <c:pt idx="7183">
                  <c:v>2634.0479999999998</c:v>
                </c:pt>
                <c:pt idx="7184">
                  <c:v>2631.4660000000003</c:v>
                </c:pt>
                <c:pt idx="7185">
                  <c:v>2630.5549999999998</c:v>
                </c:pt>
                <c:pt idx="7186">
                  <c:v>2629.2079999999987</c:v>
                </c:pt>
                <c:pt idx="7187">
                  <c:v>2629.0906113000001</c:v>
                </c:pt>
                <c:pt idx="7188">
                  <c:v>2627.634</c:v>
                </c:pt>
                <c:pt idx="7189">
                  <c:v>2624.0729999999999</c:v>
                </c:pt>
                <c:pt idx="7190">
                  <c:v>2622.8220000000001</c:v>
                </c:pt>
                <c:pt idx="7191">
                  <c:v>2622.4120000000012</c:v>
                </c:pt>
                <c:pt idx="7192">
                  <c:v>2620.4740000000002</c:v>
                </c:pt>
                <c:pt idx="7193">
                  <c:v>2618.692</c:v>
                </c:pt>
                <c:pt idx="7194">
                  <c:v>2618.6769999999997</c:v>
                </c:pt>
                <c:pt idx="7195">
                  <c:v>2616.4789999999998</c:v>
                </c:pt>
                <c:pt idx="7196">
                  <c:v>2616.4299999999998</c:v>
                </c:pt>
                <c:pt idx="7197">
                  <c:v>2614.9459999999999</c:v>
                </c:pt>
                <c:pt idx="7198">
                  <c:v>2613.5330000000022</c:v>
                </c:pt>
                <c:pt idx="7199">
                  <c:v>2612.5790000000002</c:v>
                </c:pt>
                <c:pt idx="7200">
                  <c:v>2607.8440000000001</c:v>
                </c:pt>
                <c:pt idx="7201">
                  <c:v>2606.9960000000001</c:v>
                </c:pt>
                <c:pt idx="7202">
                  <c:v>2604.8510000000028</c:v>
                </c:pt>
                <c:pt idx="7203">
                  <c:v>2604.3310000000024</c:v>
                </c:pt>
                <c:pt idx="7204">
                  <c:v>2603.7579999999998</c:v>
                </c:pt>
                <c:pt idx="7205">
                  <c:v>2601.1570000000002</c:v>
                </c:pt>
                <c:pt idx="7206">
                  <c:v>2600.5729999999999</c:v>
                </c:pt>
                <c:pt idx="7207">
                  <c:v>2596</c:v>
                </c:pt>
                <c:pt idx="7208">
                  <c:v>2595.7830000000004</c:v>
                </c:pt>
                <c:pt idx="7209">
                  <c:v>2592.9789999999998</c:v>
                </c:pt>
                <c:pt idx="7210">
                  <c:v>2591.0320000000002</c:v>
                </c:pt>
                <c:pt idx="7211">
                  <c:v>2589.8300000000022</c:v>
                </c:pt>
                <c:pt idx="7212">
                  <c:v>2589.0010000000002</c:v>
                </c:pt>
                <c:pt idx="7213">
                  <c:v>2588.6890000000003</c:v>
                </c:pt>
                <c:pt idx="7214">
                  <c:v>2588.6390000000001</c:v>
                </c:pt>
                <c:pt idx="7215">
                  <c:v>2587.5459999999998</c:v>
                </c:pt>
                <c:pt idx="7216">
                  <c:v>2586.3720000000012</c:v>
                </c:pt>
                <c:pt idx="7217">
                  <c:v>2586.1849999999972</c:v>
                </c:pt>
                <c:pt idx="7218">
                  <c:v>2585.8940000000002</c:v>
                </c:pt>
                <c:pt idx="7219">
                  <c:v>2584.4699999999998</c:v>
                </c:pt>
                <c:pt idx="7220">
                  <c:v>2580.846</c:v>
                </c:pt>
                <c:pt idx="7221">
                  <c:v>2580.6120000000005</c:v>
                </c:pt>
                <c:pt idx="7222">
                  <c:v>2576.1149999999998</c:v>
                </c:pt>
                <c:pt idx="7223">
                  <c:v>2575.6959999999999</c:v>
                </c:pt>
                <c:pt idx="7224">
                  <c:v>2575.6730000000002</c:v>
                </c:pt>
                <c:pt idx="7225">
                  <c:v>2574.3760000000002</c:v>
                </c:pt>
                <c:pt idx="7226">
                  <c:v>2573.732</c:v>
                </c:pt>
                <c:pt idx="7227">
                  <c:v>2573.0940000000001</c:v>
                </c:pt>
                <c:pt idx="7228">
                  <c:v>2570.8730000000028</c:v>
                </c:pt>
                <c:pt idx="7229">
                  <c:v>2570.5940000000001</c:v>
                </c:pt>
                <c:pt idx="7230">
                  <c:v>2570.0819999999999</c:v>
                </c:pt>
                <c:pt idx="7231">
                  <c:v>2569.0159999999996</c:v>
                </c:pt>
                <c:pt idx="7232">
                  <c:v>2568.7379999999998</c:v>
                </c:pt>
                <c:pt idx="7233">
                  <c:v>2568.614</c:v>
                </c:pt>
                <c:pt idx="7234">
                  <c:v>2568.4220000000005</c:v>
                </c:pt>
                <c:pt idx="7235">
                  <c:v>2568.3510000000028</c:v>
                </c:pt>
                <c:pt idx="7236">
                  <c:v>2567.66</c:v>
                </c:pt>
                <c:pt idx="7237">
                  <c:v>2565.4639999999999</c:v>
                </c:pt>
                <c:pt idx="7238">
                  <c:v>2564.223</c:v>
                </c:pt>
                <c:pt idx="7239">
                  <c:v>2563.3800000000006</c:v>
                </c:pt>
                <c:pt idx="7240">
                  <c:v>2558.8040000000005</c:v>
                </c:pt>
                <c:pt idx="7241">
                  <c:v>2555.0539999999996</c:v>
                </c:pt>
                <c:pt idx="7242">
                  <c:v>2554.5309999999999</c:v>
                </c:pt>
                <c:pt idx="7243">
                  <c:v>2553.2839999999997</c:v>
                </c:pt>
                <c:pt idx="7244">
                  <c:v>2552.1509999999998</c:v>
                </c:pt>
                <c:pt idx="7245">
                  <c:v>2550.3289999999997</c:v>
                </c:pt>
                <c:pt idx="7246">
                  <c:v>2550.2809999999972</c:v>
                </c:pt>
                <c:pt idx="7247">
                  <c:v>2549.5630000000001</c:v>
                </c:pt>
                <c:pt idx="7248">
                  <c:v>2547.9100000000012</c:v>
                </c:pt>
                <c:pt idx="7249">
                  <c:v>2546.8229999999999</c:v>
                </c:pt>
                <c:pt idx="7250">
                  <c:v>2546.2679999999987</c:v>
                </c:pt>
                <c:pt idx="7251">
                  <c:v>2545.6210000000001</c:v>
                </c:pt>
                <c:pt idx="7252">
                  <c:v>2543.7839999999997</c:v>
                </c:pt>
                <c:pt idx="7253">
                  <c:v>2539.904</c:v>
                </c:pt>
                <c:pt idx="7254">
                  <c:v>2539.232</c:v>
                </c:pt>
                <c:pt idx="7255">
                  <c:v>2538.107</c:v>
                </c:pt>
                <c:pt idx="7256">
                  <c:v>2535.9902230000002</c:v>
                </c:pt>
                <c:pt idx="7257">
                  <c:v>2535.0360000000001</c:v>
                </c:pt>
                <c:pt idx="7258">
                  <c:v>2533.0320000000002</c:v>
                </c:pt>
                <c:pt idx="7259">
                  <c:v>2531.1849999999972</c:v>
                </c:pt>
                <c:pt idx="7260">
                  <c:v>2529.5859999999998</c:v>
                </c:pt>
                <c:pt idx="7261">
                  <c:v>2528.9470000000001</c:v>
                </c:pt>
                <c:pt idx="7262">
                  <c:v>2526.6930000000002</c:v>
                </c:pt>
                <c:pt idx="7263">
                  <c:v>2525.9380000000001</c:v>
                </c:pt>
                <c:pt idx="7264">
                  <c:v>2523.7819999999997</c:v>
                </c:pt>
                <c:pt idx="7265">
                  <c:v>2522.8320000000012</c:v>
                </c:pt>
                <c:pt idx="7266">
                  <c:v>2522.7249999999967</c:v>
                </c:pt>
                <c:pt idx="7267">
                  <c:v>2522.3950000000027</c:v>
                </c:pt>
                <c:pt idx="7268">
                  <c:v>2520.9249999999997</c:v>
                </c:pt>
                <c:pt idx="7269">
                  <c:v>2518.5329999999999</c:v>
                </c:pt>
                <c:pt idx="7270">
                  <c:v>2511.9400000000005</c:v>
                </c:pt>
                <c:pt idx="7271">
                  <c:v>2510.1909999999998</c:v>
                </c:pt>
                <c:pt idx="7272">
                  <c:v>2508.8220000000001</c:v>
                </c:pt>
                <c:pt idx="7273">
                  <c:v>2507.3029999999999</c:v>
                </c:pt>
                <c:pt idx="7274">
                  <c:v>2504.5819999999994</c:v>
                </c:pt>
                <c:pt idx="7275">
                  <c:v>2503.6970000000001</c:v>
                </c:pt>
                <c:pt idx="7276">
                  <c:v>2503.4079999999999</c:v>
                </c:pt>
                <c:pt idx="7277">
                  <c:v>2503.2910000000002</c:v>
                </c:pt>
                <c:pt idx="7278">
                  <c:v>2501.9299999999998</c:v>
                </c:pt>
                <c:pt idx="7279">
                  <c:v>2500.4859999999999</c:v>
                </c:pt>
                <c:pt idx="7280">
                  <c:v>2498.8960000000002</c:v>
                </c:pt>
                <c:pt idx="7281">
                  <c:v>2498.152</c:v>
                </c:pt>
                <c:pt idx="7282">
                  <c:v>2494.578</c:v>
                </c:pt>
                <c:pt idx="7283">
                  <c:v>2494.1679999999997</c:v>
                </c:pt>
                <c:pt idx="7284">
                  <c:v>2492.1190000000006</c:v>
                </c:pt>
                <c:pt idx="7285">
                  <c:v>2488.8620000000001</c:v>
                </c:pt>
                <c:pt idx="7286">
                  <c:v>2487.5100000000002</c:v>
                </c:pt>
                <c:pt idx="7287">
                  <c:v>2482.4609999999998</c:v>
                </c:pt>
                <c:pt idx="7288">
                  <c:v>2482.4120000000012</c:v>
                </c:pt>
                <c:pt idx="7289">
                  <c:v>2482.3180000000002</c:v>
                </c:pt>
                <c:pt idx="7290">
                  <c:v>2481.9470000000001</c:v>
                </c:pt>
                <c:pt idx="7291">
                  <c:v>2480.3469999999998</c:v>
                </c:pt>
                <c:pt idx="7292">
                  <c:v>2480.0059999999999</c:v>
                </c:pt>
                <c:pt idx="7293">
                  <c:v>2477.8310000000029</c:v>
                </c:pt>
                <c:pt idx="7294">
                  <c:v>2476.018</c:v>
                </c:pt>
                <c:pt idx="7295">
                  <c:v>2474.9369999999999</c:v>
                </c:pt>
                <c:pt idx="7296">
                  <c:v>2470.4870000000001</c:v>
                </c:pt>
                <c:pt idx="7297">
                  <c:v>2467.6839999999997</c:v>
                </c:pt>
                <c:pt idx="7298">
                  <c:v>2466.6689999999967</c:v>
                </c:pt>
                <c:pt idx="7299">
                  <c:v>2465.3630000000012</c:v>
                </c:pt>
                <c:pt idx="7300">
                  <c:v>2464.67</c:v>
                </c:pt>
                <c:pt idx="7301">
                  <c:v>2463.9929999999999</c:v>
                </c:pt>
                <c:pt idx="7302">
                  <c:v>2462.9479999999999</c:v>
                </c:pt>
                <c:pt idx="7303">
                  <c:v>2459.52</c:v>
                </c:pt>
                <c:pt idx="7304">
                  <c:v>2458.4549999999999</c:v>
                </c:pt>
                <c:pt idx="7305">
                  <c:v>2453.58</c:v>
                </c:pt>
                <c:pt idx="7306">
                  <c:v>2452.9100000000012</c:v>
                </c:pt>
                <c:pt idx="7307">
                  <c:v>2452.3870000000002</c:v>
                </c:pt>
                <c:pt idx="7308">
                  <c:v>2449.7270000000003</c:v>
                </c:pt>
                <c:pt idx="7309">
                  <c:v>2448.9149999999995</c:v>
                </c:pt>
                <c:pt idx="7310">
                  <c:v>2448.8989999999999</c:v>
                </c:pt>
                <c:pt idx="7311">
                  <c:v>2446.2070000000003</c:v>
                </c:pt>
                <c:pt idx="7312">
                  <c:v>2443.7399999999998</c:v>
                </c:pt>
                <c:pt idx="7313">
                  <c:v>2443.3690000000001</c:v>
                </c:pt>
                <c:pt idx="7314">
                  <c:v>2441.6490000000003</c:v>
                </c:pt>
                <c:pt idx="7315">
                  <c:v>2441.5210000000002</c:v>
                </c:pt>
                <c:pt idx="7316">
                  <c:v>2441.078</c:v>
                </c:pt>
                <c:pt idx="7317">
                  <c:v>2441.0199999999995</c:v>
                </c:pt>
                <c:pt idx="7318">
                  <c:v>2437.2909999999997</c:v>
                </c:pt>
                <c:pt idx="7319">
                  <c:v>2436.9790000000012</c:v>
                </c:pt>
                <c:pt idx="7320">
                  <c:v>2434.5819999999999</c:v>
                </c:pt>
                <c:pt idx="7321">
                  <c:v>2434.4960000000001</c:v>
                </c:pt>
                <c:pt idx="7322">
                  <c:v>2433.5479999999998</c:v>
                </c:pt>
                <c:pt idx="7323">
                  <c:v>2431.6999999999998</c:v>
                </c:pt>
                <c:pt idx="7324">
                  <c:v>2431.6390000000001</c:v>
                </c:pt>
                <c:pt idx="7325">
                  <c:v>2431.4439999999995</c:v>
                </c:pt>
                <c:pt idx="7326">
                  <c:v>2431.27</c:v>
                </c:pt>
                <c:pt idx="7327">
                  <c:v>2430.6449999999968</c:v>
                </c:pt>
                <c:pt idx="7328">
                  <c:v>2430.078</c:v>
                </c:pt>
                <c:pt idx="7329">
                  <c:v>2429.1359999999995</c:v>
                </c:pt>
                <c:pt idx="7330">
                  <c:v>2429.0340000000001</c:v>
                </c:pt>
                <c:pt idx="7331">
                  <c:v>2427.4470000000001</c:v>
                </c:pt>
                <c:pt idx="7332">
                  <c:v>2426.6950000000002</c:v>
                </c:pt>
                <c:pt idx="7333">
                  <c:v>2426.3380000000002</c:v>
                </c:pt>
                <c:pt idx="7334">
                  <c:v>2425.6039999999998</c:v>
                </c:pt>
                <c:pt idx="7335">
                  <c:v>2424.0950000000012</c:v>
                </c:pt>
                <c:pt idx="7336">
                  <c:v>2423.1889999999967</c:v>
                </c:pt>
                <c:pt idx="7337">
                  <c:v>2421.7930000000001</c:v>
                </c:pt>
                <c:pt idx="7338">
                  <c:v>2420.3000000000002</c:v>
                </c:pt>
                <c:pt idx="7339">
                  <c:v>2417.0709999999999</c:v>
                </c:pt>
                <c:pt idx="7340">
                  <c:v>2409.8289999999997</c:v>
                </c:pt>
                <c:pt idx="7341">
                  <c:v>2409.7929999999997</c:v>
                </c:pt>
                <c:pt idx="7342">
                  <c:v>2408.77</c:v>
                </c:pt>
                <c:pt idx="7343">
                  <c:v>2407.8570000000022</c:v>
                </c:pt>
                <c:pt idx="7344">
                  <c:v>2406.2190000000001</c:v>
                </c:pt>
                <c:pt idx="7345">
                  <c:v>2404.8049999999994</c:v>
                </c:pt>
                <c:pt idx="7346">
                  <c:v>2404.1750000000002</c:v>
                </c:pt>
                <c:pt idx="7347">
                  <c:v>2403.2799999999997</c:v>
                </c:pt>
                <c:pt idx="7348">
                  <c:v>2403.0729999999999</c:v>
                </c:pt>
                <c:pt idx="7349">
                  <c:v>2400.0230000000001</c:v>
                </c:pt>
                <c:pt idx="7350">
                  <c:v>2394.6410000000001</c:v>
                </c:pt>
                <c:pt idx="7351">
                  <c:v>2391.8300000000022</c:v>
                </c:pt>
                <c:pt idx="7352">
                  <c:v>2390.1419999999998</c:v>
                </c:pt>
                <c:pt idx="7353">
                  <c:v>2389.77</c:v>
                </c:pt>
                <c:pt idx="7354">
                  <c:v>2387.3450000000012</c:v>
                </c:pt>
                <c:pt idx="7355">
                  <c:v>2384.3420000000001</c:v>
                </c:pt>
                <c:pt idx="7356">
                  <c:v>2381.5720000000001</c:v>
                </c:pt>
                <c:pt idx="7357">
                  <c:v>2380.2669999999966</c:v>
                </c:pt>
                <c:pt idx="7358">
                  <c:v>2375.58</c:v>
                </c:pt>
                <c:pt idx="7359">
                  <c:v>2373.0349999999999</c:v>
                </c:pt>
                <c:pt idx="7360">
                  <c:v>2372.98</c:v>
                </c:pt>
                <c:pt idx="7361">
                  <c:v>2372.3950000000032</c:v>
                </c:pt>
                <c:pt idx="7362">
                  <c:v>2371.886</c:v>
                </c:pt>
                <c:pt idx="7363">
                  <c:v>2370.654</c:v>
                </c:pt>
                <c:pt idx="7364">
                  <c:v>2369.6259999999997</c:v>
                </c:pt>
                <c:pt idx="7365">
                  <c:v>2368.2290000000003</c:v>
                </c:pt>
                <c:pt idx="7366">
                  <c:v>2368.0849999999987</c:v>
                </c:pt>
                <c:pt idx="7367">
                  <c:v>2366.5639999999999</c:v>
                </c:pt>
                <c:pt idx="7368">
                  <c:v>2366.54</c:v>
                </c:pt>
                <c:pt idx="7369">
                  <c:v>2366.1410000000001</c:v>
                </c:pt>
                <c:pt idx="7370">
                  <c:v>2364.5969999999998</c:v>
                </c:pt>
                <c:pt idx="7371">
                  <c:v>2363.3409999999999</c:v>
                </c:pt>
                <c:pt idx="7372">
                  <c:v>2362.7140000000004</c:v>
                </c:pt>
                <c:pt idx="7373">
                  <c:v>2362.3750000000032</c:v>
                </c:pt>
                <c:pt idx="7374">
                  <c:v>2360.3589999999999</c:v>
                </c:pt>
                <c:pt idx="7375">
                  <c:v>2359.9880000000003</c:v>
                </c:pt>
                <c:pt idx="7376">
                  <c:v>2358.5530000000012</c:v>
                </c:pt>
                <c:pt idx="7377">
                  <c:v>2358.3809999999999</c:v>
                </c:pt>
                <c:pt idx="7378">
                  <c:v>2357.6320000000001</c:v>
                </c:pt>
                <c:pt idx="7379">
                  <c:v>2356.9009999999998</c:v>
                </c:pt>
                <c:pt idx="7380">
                  <c:v>2356.6240000000003</c:v>
                </c:pt>
                <c:pt idx="7381">
                  <c:v>2356.4700000000012</c:v>
                </c:pt>
                <c:pt idx="7382">
                  <c:v>2356.2199999999998</c:v>
                </c:pt>
                <c:pt idx="7383">
                  <c:v>2355.5520000000001</c:v>
                </c:pt>
                <c:pt idx="7384">
                  <c:v>2353.1929999999998</c:v>
                </c:pt>
                <c:pt idx="7385">
                  <c:v>2352.6779999999999</c:v>
                </c:pt>
                <c:pt idx="7386">
                  <c:v>2351.8180000000002</c:v>
                </c:pt>
                <c:pt idx="7387">
                  <c:v>2348.52</c:v>
                </c:pt>
                <c:pt idx="7388">
                  <c:v>2347.3469999999998</c:v>
                </c:pt>
                <c:pt idx="7389">
                  <c:v>2346.808</c:v>
                </c:pt>
                <c:pt idx="7390">
                  <c:v>2342.5630000000001</c:v>
                </c:pt>
                <c:pt idx="7391">
                  <c:v>2340.752</c:v>
                </c:pt>
                <c:pt idx="7392">
                  <c:v>2339.489</c:v>
                </c:pt>
                <c:pt idx="7393">
                  <c:v>2337.1259999999997</c:v>
                </c:pt>
                <c:pt idx="7394">
                  <c:v>2332.4670000000001</c:v>
                </c:pt>
                <c:pt idx="7395">
                  <c:v>2330.7330000000002</c:v>
                </c:pt>
                <c:pt idx="7396">
                  <c:v>2328.9740000000002</c:v>
                </c:pt>
                <c:pt idx="7397">
                  <c:v>2327.7639999999997</c:v>
                </c:pt>
                <c:pt idx="7398">
                  <c:v>2325.7289999999966</c:v>
                </c:pt>
                <c:pt idx="7399">
                  <c:v>2324.6079999999997</c:v>
                </c:pt>
                <c:pt idx="7400">
                  <c:v>2323.9369999999999</c:v>
                </c:pt>
                <c:pt idx="7401">
                  <c:v>2323.3380000000002</c:v>
                </c:pt>
                <c:pt idx="7402">
                  <c:v>2319.9720000000002</c:v>
                </c:pt>
                <c:pt idx="7403">
                  <c:v>2319.1239999999998</c:v>
                </c:pt>
                <c:pt idx="7404">
                  <c:v>2318.5970000000002</c:v>
                </c:pt>
                <c:pt idx="7405">
                  <c:v>2317.5909999999999</c:v>
                </c:pt>
                <c:pt idx="7406">
                  <c:v>2315.8409999999999</c:v>
                </c:pt>
                <c:pt idx="7407">
                  <c:v>2315.6149999999998</c:v>
                </c:pt>
                <c:pt idx="7408">
                  <c:v>2314.7740000000003</c:v>
                </c:pt>
                <c:pt idx="7409">
                  <c:v>2314.4490000000001</c:v>
                </c:pt>
                <c:pt idx="7410">
                  <c:v>2314.1689999999967</c:v>
                </c:pt>
                <c:pt idx="7411">
                  <c:v>2313.9760000000001</c:v>
                </c:pt>
                <c:pt idx="7412">
                  <c:v>2313.203</c:v>
                </c:pt>
                <c:pt idx="7413">
                  <c:v>2312.2370000000001</c:v>
                </c:pt>
                <c:pt idx="7414">
                  <c:v>2310.79</c:v>
                </c:pt>
                <c:pt idx="7415">
                  <c:v>2310.1310000000012</c:v>
                </c:pt>
                <c:pt idx="7416">
                  <c:v>2309.2529999999997</c:v>
                </c:pt>
                <c:pt idx="7417">
                  <c:v>2309.0210000000002</c:v>
                </c:pt>
                <c:pt idx="7418">
                  <c:v>2305.9880000000003</c:v>
                </c:pt>
                <c:pt idx="7419">
                  <c:v>2304.701</c:v>
                </c:pt>
                <c:pt idx="7420">
                  <c:v>2302.15</c:v>
                </c:pt>
                <c:pt idx="7421">
                  <c:v>2300.4929999999999</c:v>
                </c:pt>
                <c:pt idx="7422">
                  <c:v>2300.2419999999997</c:v>
                </c:pt>
                <c:pt idx="7423">
                  <c:v>2298.69</c:v>
                </c:pt>
                <c:pt idx="7424">
                  <c:v>2297.442</c:v>
                </c:pt>
                <c:pt idx="7425">
                  <c:v>2296.6570000000002</c:v>
                </c:pt>
                <c:pt idx="7426">
                  <c:v>2295.9859999999999</c:v>
                </c:pt>
                <c:pt idx="7427">
                  <c:v>2295.4450000000002</c:v>
                </c:pt>
                <c:pt idx="7428">
                  <c:v>2294.0579999999995</c:v>
                </c:pt>
                <c:pt idx="7429">
                  <c:v>2293.259</c:v>
                </c:pt>
                <c:pt idx="7430">
                  <c:v>2293.1659999999997</c:v>
                </c:pt>
                <c:pt idx="7431">
                  <c:v>2293.0309999999999</c:v>
                </c:pt>
                <c:pt idx="7432">
                  <c:v>2292.8419999999996</c:v>
                </c:pt>
                <c:pt idx="7433">
                  <c:v>2292.48</c:v>
                </c:pt>
                <c:pt idx="7434">
                  <c:v>2291.7219999999998</c:v>
                </c:pt>
                <c:pt idx="7435">
                  <c:v>2289.9629999999997</c:v>
                </c:pt>
                <c:pt idx="7436">
                  <c:v>2289.6889999999967</c:v>
                </c:pt>
                <c:pt idx="7437">
                  <c:v>2289.6229999999987</c:v>
                </c:pt>
                <c:pt idx="7438">
                  <c:v>2289.3890000000001</c:v>
                </c:pt>
                <c:pt idx="7439">
                  <c:v>2288.8009999999999</c:v>
                </c:pt>
                <c:pt idx="7440">
                  <c:v>2287.7259999999997</c:v>
                </c:pt>
                <c:pt idx="7441">
                  <c:v>2287.6729999999998</c:v>
                </c:pt>
                <c:pt idx="7442">
                  <c:v>2287.4510000000028</c:v>
                </c:pt>
                <c:pt idx="7443">
                  <c:v>2287.3389999999995</c:v>
                </c:pt>
                <c:pt idx="7444">
                  <c:v>2287.2679999999987</c:v>
                </c:pt>
                <c:pt idx="7445">
                  <c:v>2286.0520000000001</c:v>
                </c:pt>
                <c:pt idx="7446">
                  <c:v>2285.6240000000003</c:v>
                </c:pt>
                <c:pt idx="7447">
                  <c:v>2284.7439999999997</c:v>
                </c:pt>
                <c:pt idx="7448">
                  <c:v>2284.0929999999998</c:v>
                </c:pt>
                <c:pt idx="7449">
                  <c:v>2281.0810000000001</c:v>
                </c:pt>
                <c:pt idx="7450">
                  <c:v>2280.5249999999987</c:v>
                </c:pt>
                <c:pt idx="7451">
                  <c:v>2280.3649999999998</c:v>
                </c:pt>
                <c:pt idx="7452">
                  <c:v>2279.9320000000002</c:v>
                </c:pt>
                <c:pt idx="7453">
                  <c:v>2277.6319999999996</c:v>
                </c:pt>
                <c:pt idx="7454">
                  <c:v>2276.2550000000001</c:v>
                </c:pt>
                <c:pt idx="7455">
                  <c:v>2275.4710000000027</c:v>
                </c:pt>
                <c:pt idx="7456">
                  <c:v>2274.4490000000001</c:v>
                </c:pt>
                <c:pt idx="7457">
                  <c:v>2273.3409999999999</c:v>
                </c:pt>
                <c:pt idx="7458">
                  <c:v>2272.9409999999998</c:v>
                </c:pt>
                <c:pt idx="7459">
                  <c:v>2270.8020000000001</c:v>
                </c:pt>
                <c:pt idx="7460">
                  <c:v>2270.261</c:v>
                </c:pt>
                <c:pt idx="7461">
                  <c:v>2269.6370000000002</c:v>
                </c:pt>
                <c:pt idx="7462">
                  <c:v>2269.2279999999987</c:v>
                </c:pt>
                <c:pt idx="7463">
                  <c:v>2268.8380000000002</c:v>
                </c:pt>
                <c:pt idx="7464">
                  <c:v>2266.5129999999999</c:v>
                </c:pt>
                <c:pt idx="7465">
                  <c:v>2266.17</c:v>
                </c:pt>
                <c:pt idx="7466">
                  <c:v>2265.8620000000001</c:v>
                </c:pt>
                <c:pt idx="7467">
                  <c:v>2263.9209999999998</c:v>
                </c:pt>
                <c:pt idx="7468">
                  <c:v>2263.4569999999999</c:v>
                </c:pt>
                <c:pt idx="7469">
                  <c:v>2261.9530000000022</c:v>
                </c:pt>
                <c:pt idx="7470">
                  <c:v>2259.3490000000002</c:v>
                </c:pt>
                <c:pt idx="7471">
                  <c:v>2258.6690000000003</c:v>
                </c:pt>
                <c:pt idx="7472">
                  <c:v>2258.1449999999968</c:v>
                </c:pt>
                <c:pt idx="7473">
                  <c:v>2257.5429999999997</c:v>
                </c:pt>
                <c:pt idx="7474">
                  <c:v>2255.6310000000012</c:v>
                </c:pt>
                <c:pt idx="7475">
                  <c:v>2254.1439999999998</c:v>
                </c:pt>
                <c:pt idx="7476">
                  <c:v>2250.9610000000002</c:v>
                </c:pt>
                <c:pt idx="7477">
                  <c:v>2250.4670000000006</c:v>
                </c:pt>
                <c:pt idx="7478">
                  <c:v>2248.9929999999999</c:v>
                </c:pt>
                <c:pt idx="7479">
                  <c:v>2247.9989999999998</c:v>
                </c:pt>
                <c:pt idx="7480">
                  <c:v>2247.8270000000002</c:v>
                </c:pt>
                <c:pt idx="7481">
                  <c:v>2247.4050000000002</c:v>
                </c:pt>
                <c:pt idx="7482">
                  <c:v>2247.328</c:v>
                </c:pt>
                <c:pt idx="7483">
                  <c:v>2246.3500000000022</c:v>
                </c:pt>
                <c:pt idx="7484">
                  <c:v>2246.0030000000002</c:v>
                </c:pt>
                <c:pt idx="7485">
                  <c:v>2242.9360000000001</c:v>
                </c:pt>
                <c:pt idx="7486">
                  <c:v>2241.9760000000001</c:v>
                </c:pt>
                <c:pt idx="7487">
                  <c:v>2240.9110000000028</c:v>
                </c:pt>
                <c:pt idx="7488">
                  <c:v>2236.9430000000002</c:v>
                </c:pt>
                <c:pt idx="7489">
                  <c:v>2236.2509999999997</c:v>
                </c:pt>
                <c:pt idx="7490">
                  <c:v>2233.1279999999997</c:v>
                </c:pt>
                <c:pt idx="7491">
                  <c:v>2231.587</c:v>
                </c:pt>
                <c:pt idx="7492">
                  <c:v>2230.0630000000001</c:v>
                </c:pt>
                <c:pt idx="7493">
                  <c:v>2227.5899999999997</c:v>
                </c:pt>
                <c:pt idx="7494">
                  <c:v>2226.8150000000028</c:v>
                </c:pt>
                <c:pt idx="7495">
                  <c:v>2223.5940000000001</c:v>
                </c:pt>
                <c:pt idx="7496">
                  <c:v>2222.922</c:v>
                </c:pt>
                <c:pt idx="7497">
                  <c:v>2216.3870000000002</c:v>
                </c:pt>
                <c:pt idx="7498">
                  <c:v>2215.0030000000002</c:v>
                </c:pt>
                <c:pt idx="7499">
                  <c:v>2213.9</c:v>
                </c:pt>
                <c:pt idx="7500">
                  <c:v>2213.0699999999997</c:v>
                </c:pt>
                <c:pt idx="7501">
                  <c:v>2211.598</c:v>
                </c:pt>
                <c:pt idx="7502">
                  <c:v>2209.1629999999968</c:v>
                </c:pt>
                <c:pt idx="7503">
                  <c:v>2207.114</c:v>
                </c:pt>
                <c:pt idx="7504">
                  <c:v>2206.92</c:v>
                </c:pt>
                <c:pt idx="7505">
                  <c:v>2206.7239999999997</c:v>
                </c:pt>
                <c:pt idx="7506">
                  <c:v>2205.002</c:v>
                </c:pt>
                <c:pt idx="7507">
                  <c:v>2204.2379999999998</c:v>
                </c:pt>
                <c:pt idx="7508">
                  <c:v>2203.585</c:v>
                </c:pt>
                <c:pt idx="7509">
                  <c:v>2202.1990000000001</c:v>
                </c:pt>
                <c:pt idx="7510">
                  <c:v>2201.9279999999999</c:v>
                </c:pt>
                <c:pt idx="7511">
                  <c:v>2200.4920000000002</c:v>
                </c:pt>
                <c:pt idx="7512">
                  <c:v>2198.6379999999999</c:v>
                </c:pt>
                <c:pt idx="7513">
                  <c:v>2196.2039999999997</c:v>
                </c:pt>
                <c:pt idx="7514">
                  <c:v>2191.2679999999987</c:v>
                </c:pt>
                <c:pt idx="7515">
                  <c:v>2189.7740000000003</c:v>
                </c:pt>
                <c:pt idx="7516">
                  <c:v>2189.5920000000001</c:v>
                </c:pt>
                <c:pt idx="7517">
                  <c:v>2189.3300000000022</c:v>
                </c:pt>
                <c:pt idx="7518">
                  <c:v>2188.5360000000001</c:v>
                </c:pt>
                <c:pt idx="7519">
                  <c:v>2186.8689999999997</c:v>
                </c:pt>
                <c:pt idx="7520">
                  <c:v>2186.4410000000012</c:v>
                </c:pt>
                <c:pt idx="7521">
                  <c:v>2185.598</c:v>
                </c:pt>
                <c:pt idx="7522">
                  <c:v>2185.5910000000022</c:v>
                </c:pt>
                <c:pt idx="7523">
                  <c:v>2177.5679999999998</c:v>
                </c:pt>
                <c:pt idx="7524">
                  <c:v>2177.38</c:v>
                </c:pt>
                <c:pt idx="7525">
                  <c:v>2177.0160000000001</c:v>
                </c:pt>
                <c:pt idx="7526">
                  <c:v>2176.9749999999999</c:v>
                </c:pt>
                <c:pt idx="7527">
                  <c:v>2176.3630000000012</c:v>
                </c:pt>
                <c:pt idx="7528">
                  <c:v>2176.2649999999967</c:v>
                </c:pt>
                <c:pt idx="7529">
                  <c:v>2173.518</c:v>
                </c:pt>
                <c:pt idx="7530">
                  <c:v>2173.4100000000012</c:v>
                </c:pt>
                <c:pt idx="7531">
                  <c:v>2173.212</c:v>
                </c:pt>
                <c:pt idx="7532">
                  <c:v>2173.0419999999999</c:v>
                </c:pt>
                <c:pt idx="7533">
                  <c:v>2173.0120000000002</c:v>
                </c:pt>
                <c:pt idx="7534">
                  <c:v>2172.5769999999998</c:v>
                </c:pt>
                <c:pt idx="7535">
                  <c:v>2172.2059999999997</c:v>
                </c:pt>
                <c:pt idx="7536">
                  <c:v>2171.9520000000002</c:v>
                </c:pt>
                <c:pt idx="7537">
                  <c:v>2162.826</c:v>
                </c:pt>
                <c:pt idx="7538">
                  <c:v>2161.2510000000002</c:v>
                </c:pt>
                <c:pt idx="7539">
                  <c:v>2160.1570000000002</c:v>
                </c:pt>
                <c:pt idx="7540">
                  <c:v>2158.8580000000002</c:v>
                </c:pt>
                <c:pt idx="7541">
                  <c:v>2158.826</c:v>
                </c:pt>
                <c:pt idx="7542">
                  <c:v>2158.6289999999967</c:v>
                </c:pt>
                <c:pt idx="7543">
                  <c:v>2157.5450000000001</c:v>
                </c:pt>
                <c:pt idx="7544">
                  <c:v>2157.5129999999999</c:v>
                </c:pt>
                <c:pt idx="7545">
                  <c:v>2157.2219999999998</c:v>
                </c:pt>
                <c:pt idx="7546">
                  <c:v>2154.5140000000001</c:v>
                </c:pt>
                <c:pt idx="7547">
                  <c:v>2152.7839999999997</c:v>
                </c:pt>
                <c:pt idx="7548">
                  <c:v>2151.9630000000002</c:v>
                </c:pt>
                <c:pt idx="7549">
                  <c:v>2151.5210000000002</c:v>
                </c:pt>
                <c:pt idx="7550">
                  <c:v>2150.1979999999999</c:v>
                </c:pt>
                <c:pt idx="7551">
                  <c:v>2150.1529999999998</c:v>
                </c:pt>
                <c:pt idx="7552">
                  <c:v>2148.0610000000001</c:v>
                </c:pt>
                <c:pt idx="7553">
                  <c:v>2147.1379999999999</c:v>
                </c:pt>
                <c:pt idx="7554">
                  <c:v>2145.6709999999998</c:v>
                </c:pt>
                <c:pt idx="7555">
                  <c:v>2142.3380000000002</c:v>
                </c:pt>
                <c:pt idx="7556">
                  <c:v>2140.482</c:v>
                </c:pt>
                <c:pt idx="7557">
                  <c:v>2139.8320000000012</c:v>
                </c:pt>
                <c:pt idx="7558">
                  <c:v>2138.232</c:v>
                </c:pt>
                <c:pt idx="7559">
                  <c:v>2138.1370000000002</c:v>
                </c:pt>
                <c:pt idx="7560">
                  <c:v>2137.96</c:v>
                </c:pt>
                <c:pt idx="7561">
                  <c:v>2136.4150000000022</c:v>
                </c:pt>
                <c:pt idx="7562">
                  <c:v>2135.9879999999998</c:v>
                </c:pt>
                <c:pt idx="7563">
                  <c:v>2135.8880000000004</c:v>
                </c:pt>
                <c:pt idx="7564">
                  <c:v>2135.3809999999999</c:v>
                </c:pt>
                <c:pt idx="7565">
                  <c:v>2135.11</c:v>
                </c:pt>
                <c:pt idx="7566">
                  <c:v>2135.0940000000001</c:v>
                </c:pt>
                <c:pt idx="7567">
                  <c:v>2134.2039999999997</c:v>
                </c:pt>
                <c:pt idx="7568">
                  <c:v>2133.4409999999998</c:v>
                </c:pt>
                <c:pt idx="7569">
                  <c:v>2133.098</c:v>
                </c:pt>
                <c:pt idx="7570">
                  <c:v>2131.2459999999987</c:v>
                </c:pt>
                <c:pt idx="7571">
                  <c:v>2129.154</c:v>
                </c:pt>
                <c:pt idx="7572">
                  <c:v>2128.924</c:v>
                </c:pt>
                <c:pt idx="7573">
                  <c:v>2128.0079999999998</c:v>
                </c:pt>
                <c:pt idx="7574">
                  <c:v>2127.5330000000022</c:v>
                </c:pt>
                <c:pt idx="7575">
                  <c:v>2124.402</c:v>
                </c:pt>
                <c:pt idx="7576">
                  <c:v>2122.509</c:v>
                </c:pt>
                <c:pt idx="7577">
                  <c:v>2121.5110000000022</c:v>
                </c:pt>
                <c:pt idx="7578">
                  <c:v>2120.0120000000002</c:v>
                </c:pt>
                <c:pt idx="7579">
                  <c:v>2115.6350000000002</c:v>
                </c:pt>
                <c:pt idx="7580">
                  <c:v>2113.7379999999998</c:v>
                </c:pt>
                <c:pt idx="7581">
                  <c:v>2112.0529999999999</c:v>
                </c:pt>
                <c:pt idx="7582">
                  <c:v>2111.0590000000002</c:v>
                </c:pt>
                <c:pt idx="7583">
                  <c:v>2110.7159999999999</c:v>
                </c:pt>
                <c:pt idx="7584">
                  <c:v>2110.3650000000002</c:v>
                </c:pt>
                <c:pt idx="7585">
                  <c:v>2109.6930000000002</c:v>
                </c:pt>
                <c:pt idx="7586">
                  <c:v>2109.0729999999999</c:v>
                </c:pt>
                <c:pt idx="7587">
                  <c:v>2108.8110000000029</c:v>
                </c:pt>
                <c:pt idx="7588">
                  <c:v>2108.7059999999997</c:v>
                </c:pt>
                <c:pt idx="7589">
                  <c:v>2107.944</c:v>
                </c:pt>
                <c:pt idx="7590">
                  <c:v>2107.6019999999999</c:v>
                </c:pt>
                <c:pt idx="7591">
                  <c:v>2106.797</c:v>
                </c:pt>
                <c:pt idx="7592">
                  <c:v>2105.6109999999999</c:v>
                </c:pt>
                <c:pt idx="7593">
                  <c:v>2105.402</c:v>
                </c:pt>
                <c:pt idx="7594">
                  <c:v>2105.0160000000001</c:v>
                </c:pt>
                <c:pt idx="7595">
                  <c:v>2103.9670000000001</c:v>
                </c:pt>
                <c:pt idx="7596">
                  <c:v>2103.3130000000028</c:v>
                </c:pt>
                <c:pt idx="7597">
                  <c:v>2102.8670000000002</c:v>
                </c:pt>
                <c:pt idx="7598">
                  <c:v>2102.7190000000001</c:v>
                </c:pt>
                <c:pt idx="7599">
                  <c:v>2101.4459999999999</c:v>
                </c:pt>
                <c:pt idx="7600">
                  <c:v>2098.578</c:v>
                </c:pt>
                <c:pt idx="7601">
                  <c:v>2098.009</c:v>
                </c:pt>
                <c:pt idx="7602">
                  <c:v>2097.4140000000002</c:v>
                </c:pt>
                <c:pt idx="7603">
                  <c:v>2097.06</c:v>
                </c:pt>
                <c:pt idx="7604">
                  <c:v>2097.0540000000001</c:v>
                </c:pt>
                <c:pt idx="7605">
                  <c:v>2096.1049999999987</c:v>
                </c:pt>
                <c:pt idx="7606">
                  <c:v>2095.8310000000029</c:v>
                </c:pt>
                <c:pt idx="7607">
                  <c:v>2095.6490000000003</c:v>
                </c:pt>
                <c:pt idx="7608">
                  <c:v>2095.1130000000012</c:v>
                </c:pt>
                <c:pt idx="7609">
                  <c:v>2094.7250000000004</c:v>
                </c:pt>
                <c:pt idx="7610">
                  <c:v>2094.3930000000028</c:v>
                </c:pt>
                <c:pt idx="7611">
                  <c:v>2092.9150000000022</c:v>
                </c:pt>
                <c:pt idx="7612">
                  <c:v>2092.7689999999975</c:v>
                </c:pt>
                <c:pt idx="7613">
                  <c:v>2091.5459999999998</c:v>
                </c:pt>
                <c:pt idx="7614">
                  <c:v>2090.6320000000001</c:v>
                </c:pt>
                <c:pt idx="7615">
                  <c:v>2090.6289999999967</c:v>
                </c:pt>
                <c:pt idx="7616">
                  <c:v>2090.627</c:v>
                </c:pt>
                <c:pt idx="7617">
                  <c:v>2089.0369999999998</c:v>
                </c:pt>
                <c:pt idx="7618">
                  <c:v>2088.4730000000022</c:v>
                </c:pt>
                <c:pt idx="7619">
                  <c:v>2088.1289999999967</c:v>
                </c:pt>
                <c:pt idx="7620">
                  <c:v>2086.7349999999997</c:v>
                </c:pt>
                <c:pt idx="7621">
                  <c:v>2083.1109999999999</c:v>
                </c:pt>
                <c:pt idx="7622">
                  <c:v>2080.116</c:v>
                </c:pt>
                <c:pt idx="7623">
                  <c:v>2079.0529999999999</c:v>
                </c:pt>
                <c:pt idx="7624">
                  <c:v>2077.598</c:v>
                </c:pt>
                <c:pt idx="7625">
                  <c:v>2077.4750558000028</c:v>
                </c:pt>
                <c:pt idx="7626">
                  <c:v>2076.9639999999999</c:v>
                </c:pt>
                <c:pt idx="7627">
                  <c:v>2075.527</c:v>
                </c:pt>
                <c:pt idx="7628">
                  <c:v>2074.3150000000028</c:v>
                </c:pt>
                <c:pt idx="7629">
                  <c:v>2073.5660000000003</c:v>
                </c:pt>
                <c:pt idx="7630">
                  <c:v>2071.9540000000002</c:v>
                </c:pt>
                <c:pt idx="7631">
                  <c:v>2070.8969999999999</c:v>
                </c:pt>
                <c:pt idx="7632">
                  <c:v>2070.5209999999997</c:v>
                </c:pt>
                <c:pt idx="7633">
                  <c:v>2066.8789999999999</c:v>
                </c:pt>
                <c:pt idx="7634">
                  <c:v>2066.56</c:v>
                </c:pt>
                <c:pt idx="7635">
                  <c:v>2065.8250000000012</c:v>
                </c:pt>
                <c:pt idx="7636">
                  <c:v>2063.11</c:v>
                </c:pt>
                <c:pt idx="7637">
                  <c:v>2062.7190000000001</c:v>
                </c:pt>
                <c:pt idx="7638">
                  <c:v>2061.2490000000003</c:v>
                </c:pt>
                <c:pt idx="7639">
                  <c:v>2059.5609439999998</c:v>
                </c:pt>
                <c:pt idx="7640">
                  <c:v>2056.2930000000001</c:v>
                </c:pt>
                <c:pt idx="7641">
                  <c:v>2053.9549999999999</c:v>
                </c:pt>
                <c:pt idx="7642">
                  <c:v>2053.683</c:v>
                </c:pt>
                <c:pt idx="7643">
                  <c:v>2053.65</c:v>
                </c:pt>
                <c:pt idx="7644">
                  <c:v>2053.1410000000001</c:v>
                </c:pt>
                <c:pt idx="7645">
                  <c:v>2051.3490000000002</c:v>
                </c:pt>
                <c:pt idx="7646">
                  <c:v>2050.5359999999996</c:v>
                </c:pt>
                <c:pt idx="7647">
                  <c:v>2049.3900000000012</c:v>
                </c:pt>
                <c:pt idx="7648">
                  <c:v>2047.903</c:v>
                </c:pt>
                <c:pt idx="7649">
                  <c:v>2047.818</c:v>
                </c:pt>
                <c:pt idx="7650">
                  <c:v>2047.7860000000001</c:v>
                </c:pt>
                <c:pt idx="7651">
                  <c:v>2046.3270000000002</c:v>
                </c:pt>
                <c:pt idx="7652">
                  <c:v>2046.2070000000001</c:v>
                </c:pt>
                <c:pt idx="7653">
                  <c:v>2043.8409999999999</c:v>
                </c:pt>
                <c:pt idx="7654">
                  <c:v>2043.5729999999999</c:v>
                </c:pt>
                <c:pt idx="7655">
                  <c:v>2043.537</c:v>
                </c:pt>
                <c:pt idx="7656">
                  <c:v>2043.3939999999998</c:v>
                </c:pt>
                <c:pt idx="7657">
                  <c:v>2043.3250000000003</c:v>
                </c:pt>
                <c:pt idx="7658">
                  <c:v>2041.6849999999986</c:v>
                </c:pt>
                <c:pt idx="7659">
                  <c:v>2040.9590000000001</c:v>
                </c:pt>
                <c:pt idx="7660">
                  <c:v>2040.7070000000001</c:v>
                </c:pt>
                <c:pt idx="7661">
                  <c:v>2039.1319999999998</c:v>
                </c:pt>
                <c:pt idx="7662">
                  <c:v>2038.778</c:v>
                </c:pt>
                <c:pt idx="7663">
                  <c:v>2037.5839999999998</c:v>
                </c:pt>
                <c:pt idx="7664">
                  <c:v>2037.047</c:v>
                </c:pt>
                <c:pt idx="7665">
                  <c:v>2035.6460000000002</c:v>
                </c:pt>
                <c:pt idx="7666">
                  <c:v>2034.6089999999999</c:v>
                </c:pt>
                <c:pt idx="7667">
                  <c:v>2034.1909999999998</c:v>
                </c:pt>
                <c:pt idx="7668">
                  <c:v>2033.7330000000002</c:v>
                </c:pt>
                <c:pt idx="7669">
                  <c:v>2030.5970000000002</c:v>
                </c:pt>
                <c:pt idx="7670">
                  <c:v>2029.1989999999998</c:v>
                </c:pt>
                <c:pt idx="7671">
                  <c:v>2027.2080000000001</c:v>
                </c:pt>
                <c:pt idx="7672">
                  <c:v>2025.0609999999999</c:v>
                </c:pt>
                <c:pt idx="7673">
                  <c:v>2024.566</c:v>
                </c:pt>
                <c:pt idx="7674">
                  <c:v>2023.6450000000002</c:v>
                </c:pt>
                <c:pt idx="7675">
                  <c:v>2022.6669999999999</c:v>
                </c:pt>
                <c:pt idx="7676">
                  <c:v>2022.3360000000002</c:v>
                </c:pt>
                <c:pt idx="7677">
                  <c:v>2021.807</c:v>
                </c:pt>
                <c:pt idx="7678">
                  <c:v>2020.6189999999999</c:v>
                </c:pt>
                <c:pt idx="7679">
                  <c:v>2020.4560000000001</c:v>
                </c:pt>
                <c:pt idx="7680">
                  <c:v>2017.1969999999999</c:v>
                </c:pt>
                <c:pt idx="7681">
                  <c:v>2016.655</c:v>
                </c:pt>
                <c:pt idx="7682">
                  <c:v>2014.6719999999998</c:v>
                </c:pt>
                <c:pt idx="7683">
                  <c:v>2012.7400000000002</c:v>
                </c:pt>
                <c:pt idx="7684">
                  <c:v>2012.722</c:v>
                </c:pt>
                <c:pt idx="7685">
                  <c:v>2011.8180000000002</c:v>
                </c:pt>
                <c:pt idx="7686">
                  <c:v>2011.0470000000003</c:v>
                </c:pt>
                <c:pt idx="7687">
                  <c:v>2009.1029999999998</c:v>
                </c:pt>
                <c:pt idx="7688">
                  <c:v>2004.777</c:v>
                </c:pt>
                <c:pt idx="7689">
                  <c:v>2003.81</c:v>
                </c:pt>
                <c:pt idx="7690">
                  <c:v>2001.6470000000002</c:v>
                </c:pt>
                <c:pt idx="7691">
                  <c:v>2001.5500000000002</c:v>
                </c:pt>
                <c:pt idx="7692">
                  <c:v>2001.375</c:v>
                </c:pt>
                <c:pt idx="7693">
                  <c:v>2000.3850000000002</c:v>
                </c:pt>
                <c:pt idx="7694">
                  <c:v>1994.8839999999998</c:v>
                </c:pt>
                <c:pt idx="7695">
                  <c:v>1992.807</c:v>
                </c:pt>
                <c:pt idx="7696">
                  <c:v>1992.498</c:v>
                </c:pt>
                <c:pt idx="7697">
                  <c:v>1991.6429999999998</c:v>
                </c:pt>
                <c:pt idx="7698">
                  <c:v>1990.1029999999998</c:v>
                </c:pt>
                <c:pt idx="7699">
                  <c:v>1989.203</c:v>
                </c:pt>
                <c:pt idx="7700">
                  <c:v>1989.1589999999999</c:v>
                </c:pt>
                <c:pt idx="7701">
                  <c:v>1988.202</c:v>
                </c:pt>
                <c:pt idx="7702">
                  <c:v>1987.317</c:v>
                </c:pt>
                <c:pt idx="7703">
                  <c:v>1985.37</c:v>
                </c:pt>
                <c:pt idx="7704">
                  <c:v>1984.2950000000001</c:v>
                </c:pt>
                <c:pt idx="7705">
                  <c:v>1983.953</c:v>
                </c:pt>
                <c:pt idx="7706">
                  <c:v>1982.0650000000001</c:v>
                </c:pt>
                <c:pt idx="7707">
                  <c:v>1981.8929999999998</c:v>
                </c:pt>
                <c:pt idx="7708">
                  <c:v>1981.548</c:v>
                </c:pt>
                <c:pt idx="7709">
                  <c:v>1980.213</c:v>
                </c:pt>
                <c:pt idx="7710">
                  <c:v>1979.3119999999999</c:v>
                </c:pt>
                <c:pt idx="7711">
                  <c:v>1978.6859999999999</c:v>
                </c:pt>
                <c:pt idx="7712">
                  <c:v>1978.5609999999999</c:v>
                </c:pt>
                <c:pt idx="7713">
                  <c:v>1977.569</c:v>
                </c:pt>
                <c:pt idx="7714">
                  <c:v>1976.5719999999999</c:v>
                </c:pt>
                <c:pt idx="7715">
                  <c:v>1975.6429999999998</c:v>
                </c:pt>
                <c:pt idx="7716">
                  <c:v>1969.049</c:v>
                </c:pt>
                <c:pt idx="7717">
                  <c:v>1968.31</c:v>
                </c:pt>
                <c:pt idx="7718">
                  <c:v>1964.816</c:v>
                </c:pt>
                <c:pt idx="7719">
                  <c:v>1964.7</c:v>
                </c:pt>
                <c:pt idx="7720">
                  <c:v>1964.5809999999999</c:v>
                </c:pt>
                <c:pt idx="7721">
                  <c:v>1963.5260000000003</c:v>
                </c:pt>
                <c:pt idx="7722">
                  <c:v>1963.4170000000001</c:v>
                </c:pt>
                <c:pt idx="7723">
                  <c:v>1963.1429999999998</c:v>
                </c:pt>
                <c:pt idx="7724">
                  <c:v>1958.5849999999998</c:v>
                </c:pt>
                <c:pt idx="7725">
                  <c:v>1956.6169999999997</c:v>
                </c:pt>
                <c:pt idx="7726">
                  <c:v>1955.433</c:v>
                </c:pt>
                <c:pt idx="7727">
                  <c:v>1955.356</c:v>
                </c:pt>
                <c:pt idx="7728">
                  <c:v>1954.3429999999998</c:v>
                </c:pt>
                <c:pt idx="7729">
                  <c:v>1953.6669999999999</c:v>
                </c:pt>
                <c:pt idx="7730">
                  <c:v>1952.067</c:v>
                </c:pt>
                <c:pt idx="7731">
                  <c:v>1950.6909999999998</c:v>
                </c:pt>
                <c:pt idx="7732">
                  <c:v>1950.6379999999999</c:v>
                </c:pt>
                <c:pt idx="7733">
                  <c:v>1950.271</c:v>
                </c:pt>
                <c:pt idx="7734">
                  <c:v>1950.048</c:v>
                </c:pt>
                <c:pt idx="7735">
                  <c:v>1948.086</c:v>
                </c:pt>
                <c:pt idx="7736">
                  <c:v>1946.9070000000011</c:v>
                </c:pt>
                <c:pt idx="7737">
                  <c:v>1942.8619449999983</c:v>
                </c:pt>
                <c:pt idx="7738">
                  <c:v>1938.5819999999999</c:v>
                </c:pt>
                <c:pt idx="7739">
                  <c:v>1938.3779999999999</c:v>
                </c:pt>
                <c:pt idx="7740">
                  <c:v>1936.941</c:v>
                </c:pt>
                <c:pt idx="7741">
                  <c:v>1935.0260000000001</c:v>
                </c:pt>
                <c:pt idx="7742">
                  <c:v>1934.9065560000017</c:v>
                </c:pt>
                <c:pt idx="7743">
                  <c:v>1929.79</c:v>
                </c:pt>
                <c:pt idx="7744">
                  <c:v>1927.8590000000002</c:v>
                </c:pt>
                <c:pt idx="7745">
                  <c:v>1927.5870000000002</c:v>
                </c:pt>
                <c:pt idx="7746">
                  <c:v>1925.6119999999999</c:v>
                </c:pt>
                <c:pt idx="7747">
                  <c:v>1922.9460000000001</c:v>
                </c:pt>
                <c:pt idx="7748">
                  <c:v>1922.7929999999999</c:v>
                </c:pt>
                <c:pt idx="7749">
                  <c:v>1921.4390000000001</c:v>
                </c:pt>
                <c:pt idx="7750">
                  <c:v>1915.6589999999999</c:v>
                </c:pt>
                <c:pt idx="7751">
                  <c:v>1915.3439999999998</c:v>
                </c:pt>
                <c:pt idx="7752">
                  <c:v>1914.4380000000001</c:v>
                </c:pt>
                <c:pt idx="7753">
                  <c:v>1914.3190000000002</c:v>
                </c:pt>
                <c:pt idx="7754">
                  <c:v>1913.337</c:v>
                </c:pt>
                <c:pt idx="7755">
                  <c:v>1912.7680000000003</c:v>
                </c:pt>
                <c:pt idx="7756">
                  <c:v>1912.5260000000001</c:v>
                </c:pt>
                <c:pt idx="7757">
                  <c:v>1909.74</c:v>
                </c:pt>
                <c:pt idx="7758">
                  <c:v>1909.223</c:v>
                </c:pt>
                <c:pt idx="7759">
                  <c:v>1908.6979999999999</c:v>
                </c:pt>
                <c:pt idx="7760">
                  <c:v>1908.55</c:v>
                </c:pt>
                <c:pt idx="7761">
                  <c:v>1907.83</c:v>
                </c:pt>
                <c:pt idx="7762">
                  <c:v>1906.4100000000003</c:v>
                </c:pt>
                <c:pt idx="7763">
                  <c:v>1902.5350000000001</c:v>
                </c:pt>
                <c:pt idx="7764">
                  <c:v>1902.2339999999999</c:v>
                </c:pt>
                <c:pt idx="7765">
                  <c:v>1900.5519999999999</c:v>
                </c:pt>
                <c:pt idx="7766">
                  <c:v>1898.6229999999998</c:v>
                </c:pt>
                <c:pt idx="7767">
                  <c:v>1898.4570000000001</c:v>
                </c:pt>
                <c:pt idx="7768">
                  <c:v>1897.414</c:v>
                </c:pt>
                <c:pt idx="7769">
                  <c:v>1896.731</c:v>
                </c:pt>
                <c:pt idx="7770">
                  <c:v>1896.4680000000001</c:v>
                </c:pt>
                <c:pt idx="7771">
                  <c:v>1890.5439999999999</c:v>
                </c:pt>
                <c:pt idx="7772">
                  <c:v>1889.704</c:v>
                </c:pt>
                <c:pt idx="7773">
                  <c:v>1886.8649999999998</c:v>
                </c:pt>
                <c:pt idx="7774">
                  <c:v>1886.818</c:v>
                </c:pt>
                <c:pt idx="7775">
                  <c:v>1885.6599999999999</c:v>
                </c:pt>
                <c:pt idx="7776">
                  <c:v>1883.4900000000002</c:v>
                </c:pt>
                <c:pt idx="7777">
                  <c:v>1883.1399999999999</c:v>
                </c:pt>
                <c:pt idx="7778">
                  <c:v>1882.9270000000001</c:v>
                </c:pt>
                <c:pt idx="7779">
                  <c:v>1882.29</c:v>
                </c:pt>
                <c:pt idx="7780">
                  <c:v>1882.1959999999999</c:v>
                </c:pt>
                <c:pt idx="7781">
                  <c:v>1880.7449999999999</c:v>
                </c:pt>
                <c:pt idx="7782">
                  <c:v>1879.6379999999999</c:v>
                </c:pt>
                <c:pt idx="7783">
                  <c:v>1879.0529999999999</c:v>
                </c:pt>
                <c:pt idx="7784">
                  <c:v>1878.9880000000001</c:v>
                </c:pt>
                <c:pt idx="7785">
                  <c:v>1878.9870000000001</c:v>
                </c:pt>
                <c:pt idx="7786">
                  <c:v>1878.511</c:v>
                </c:pt>
                <c:pt idx="7787">
                  <c:v>1878.4370000000001</c:v>
                </c:pt>
                <c:pt idx="7788">
                  <c:v>1877.0070000000001</c:v>
                </c:pt>
                <c:pt idx="7789">
                  <c:v>1873.076</c:v>
                </c:pt>
                <c:pt idx="7790">
                  <c:v>1872.2570000000001</c:v>
                </c:pt>
                <c:pt idx="7791">
                  <c:v>1871.989</c:v>
                </c:pt>
                <c:pt idx="7792">
                  <c:v>1868.1589999999999</c:v>
                </c:pt>
                <c:pt idx="7793">
                  <c:v>1865.759</c:v>
                </c:pt>
                <c:pt idx="7794">
                  <c:v>1864.944</c:v>
                </c:pt>
                <c:pt idx="7795">
                  <c:v>1864.8050000000001</c:v>
                </c:pt>
                <c:pt idx="7796">
                  <c:v>1864.3959999999997</c:v>
                </c:pt>
                <c:pt idx="7797">
                  <c:v>1863.5510000000002</c:v>
                </c:pt>
                <c:pt idx="7798">
                  <c:v>1859.5139999999999</c:v>
                </c:pt>
                <c:pt idx="7799">
                  <c:v>1859.1389999999999</c:v>
                </c:pt>
                <c:pt idx="7800">
                  <c:v>1858.0390000000002</c:v>
                </c:pt>
                <c:pt idx="7801">
                  <c:v>1854.827</c:v>
                </c:pt>
                <c:pt idx="7802">
                  <c:v>1853.3919999999998</c:v>
                </c:pt>
                <c:pt idx="7803">
                  <c:v>1853.1819999999998</c:v>
                </c:pt>
                <c:pt idx="7804">
                  <c:v>1853.1439999999998</c:v>
                </c:pt>
                <c:pt idx="7805">
                  <c:v>1849.2560000000001</c:v>
                </c:pt>
                <c:pt idx="7806">
                  <c:v>1846.797</c:v>
                </c:pt>
                <c:pt idx="7807">
                  <c:v>1845.0650000000001</c:v>
                </c:pt>
                <c:pt idx="7808">
                  <c:v>1842.932</c:v>
                </c:pt>
                <c:pt idx="7809">
                  <c:v>1842.7529999999999</c:v>
                </c:pt>
                <c:pt idx="7810">
                  <c:v>1842.6009999999999</c:v>
                </c:pt>
                <c:pt idx="7811">
                  <c:v>1841.511</c:v>
                </c:pt>
                <c:pt idx="7812">
                  <c:v>1840.902</c:v>
                </c:pt>
                <c:pt idx="7813">
                  <c:v>1839.75</c:v>
                </c:pt>
                <c:pt idx="7814">
                  <c:v>1839.3409999999999</c:v>
                </c:pt>
                <c:pt idx="7815">
                  <c:v>1838.6109999999999</c:v>
                </c:pt>
                <c:pt idx="7816">
                  <c:v>1838.4480000000001</c:v>
                </c:pt>
                <c:pt idx="7817">
                  <c:v>1835.1959999999999</c:v>
                </c:pt>
                <c:pt idx="7818">
                  <c:v>1835.0390000000002</c:v>
                </c:pt>
                <c:pt idx="7819">
                  <c:v>1831.8959999999997</c:v>
                </c:pt>
                <c:pt idx="7820">
                  <c:v>1831.6399999999999</c:v>
                </c:pt>
                <c:pt idx="7821">
                  <c:v>1831.5039999999999</c:v>
                </c:pt>
                <c:pt idx="7822">
                  <c:v>1829.0960000000002</c:v>
                </c:pt>
                <c:pt idx="7823">
                  <c:v>1828.4240000000002</c:v>
                </c:pt>
                <c:pt idx="7824">
                  <c:v>1825.865</c:v>
                </c:pt>
                <c:pt idx="7825">
                  <c:v>1824.2400000000002</c:v>
                </c:pt>
                <c:pt idx="7826">
                  <c:v>1819.067</c:v>
                </c:pt>
                <c:pt idx="7827">
                  <c:v>1818.5120000000002</c:v>
                </c:pt>
                <c:pt idx="7828">
                  <c:v>1818.434</c:v>
                </c:pt>
                <c:pt idx="7829">
                  <c:v>1816.1070000000002</c:v>
                </c:pt>
                <c:pt idx="7830">
                  <c:v>1814.271</c:v>
                </c:pt>
                <c:pt idx="7831">
                  <c:v>1813.1299999999999</c:v>
                </c:pt>
                <c:pt idx="7832">
                  <c:v>1812.9739999999999</c:v>
                </c:pt>
                <c:pt idx="7833">
                  <c:v>1812.7719999999999</c:v>
                </c:pt>
                <c:pt idx="7834">
                  <c:v>1812.5339999999999</c:v>
                </c:pt>
                <c:pt idx="7835">
                  <c:v>1810.306</c:v>
                </c:pt>
                <c:pt idx="7836">
                  <c:v>1810.11</c:v>
                </c:pt>
                <c:pt idx="7837">
                  <c:v>1803.424</c:v>
                </c:pt>
                <c:pt idx="7838">
                  <c:v>1803.0890000000004</c:v>
                </c:pt>
                <c:pt idx="7839">
                  <c:v>1797.6570000000002</c:v>
                </c:pt>
                <c:pt idx="7840">
                  <c:v>1795.9050000000011</c:v>
                </c:pt>
                <c:pt idx="7841">
                  <c:v>1795.7329999999997</c:v>
                </c:pt>
                <c:pt idx="7842">
                  <c:v>1794.309</c:v>
                </c:pt>
                <c:pt idx="7843">
                  <c:v>1793.8489999999999</c:v>
                </c:pt>
                <c:pt idx="7844">
                  <c:v>1793.6089999999999</c:v>
                </c:pt>
                <c:pt idx="7845">
                  <c:v>1793.5219999999999</c:v>
                </c:pt>
                <c:pt idx="7846">
                  <c:v>1790.5229999999999</c:v>
                </c:pt>
                <c:pt idx="7847">
                  <c:v>1790.4180000000001</c:v>
                </c:pt>
                <c:pt idx="7848">
                  <c:v>1789.0160000000001</c:v>
                </c:pt>
                <c:pt idx="7849">
                  <c:v>1785.2490000000003</c:v>
                </c:pt>
                <c:pt idx="7850">
                  <c:v>1781.2000000000003</c:v>
                </c:pt>
                <c:pt idx="7851">
                  <c:v>1779.3609999999999</c:v>
                </c:pt>
                <c:pt idx="7852">
                  <c:v>1779.0650000000001</c:v>
                </c:pt>
                <c:pt idx="7853">
                  <c:v>1777.6279999999999</c:v>
                </c:pt>
                <c:pt idx="7854">
                  <c:v>1776.8149999999998</c:v>
                </c:pt>
                <c:pt idx="7855">
                  <c:v>1776.471</c:v>
                </c:pt>
                <c:pt idx="7856">
                  <c:v>1775.723</c:v>
                </c:pt>
                <c:pt idx="7857">
                  <c:v>1772.5519999999999</c:v>
                </c:pt>
                <c:pt idx="7858">
                  <c:v>1771.309</c:v>
                </c:pt>
                <c:pt idx="7859">
                  <c:v>1770.5539999999999</c:v>
                </c:pt>
                <c:pt idx="7860">
                  <c:v>1769.7070000000001</c:v>
                </c:pt>
                <c:pt idx="7861">
                  <c:v>1769.258</c:v>
                </c:pt>
                <c:pt idx="7862">
                  <c:v>1766.4590000000001</c:v>
                </c:pt>
                <c:pt idx="7863">
                  <c:v>1765.8889999999999</c:v>
                </c:pt>
                <c:pt idx="7864">
                  <c:v>1763.2799999999997</c:v>
                </c:pt>
                <c:pt idx="7865">
                  <c:v>1763.0419999999999</c:v>
                </c:pt>
                <c:pt idx="7866">
                  <c:v>1761.4450000000011</c:v>
                </c:pt>
                <c:pt idx="7867">
                  <c:v>1760.1439999999998</c:v>
                </c:pt>
                <c:pt idx="7868">
                  <c:v>1760.0360000000001</c:v>
                </c:pt>
                <c:pt idx="7869">
                  <c:v>1759.9</c:v>
                </c:pt>
                <c:pt idx="7870">
                  <c:v>1758.3799999999999</c:v>
                </c:pt>
                <c:pt idx="7871">
                  <c:v>1757.6429999999998</c:v>
                </c:pt>
                <c:pt idx="7872">
                  <c:v>1757.423</c:v>
                </c:pt>
                <c:pt idx="7873">
                  <c:v>1755.6560000000002</c:v>
                </c:pt>
                <c:pt idx="7874">
                  <c:v>1755.6039999999998</c:v>
                </c:pt>
                <c:pt idx="7875">
                  <c:v>1755.2760000000003</c:v>
                </c:pt>
                <c:pt idx="7876">
                  <c:v>1752.3439999999996</c:v>
                </c:pt>
                <c:pt idx="7877">
                  <c:v>1752.3389999999999</c:v>
                </c:pt>
                <c:pt idx="7878">
                  <c:v>1752.2260000000001</c:v>
                </c:pt>
                <c:pt idx="7879">
                  <c:v>1750.837</c:v>
                </c:pt>
                <c:pt idx="7880">
                  <c:v>1750.5449999999998</c:v>
                </c:pt>
                <c:pt idx="7881">
                  <c:v>1745.3879999999999</c:v>
                </c:pt>
                <c:pt idx="7882">
                  <c:v>1744.2370000000001</c:v>
                </c:pt>
                <c:pt idx="7883">
                  <c:v>1743.1699999999998</c:v>
                </c:pt>
                <c:pt idx="7884">
                  <c:v>1742.1080000000002</c:v>
                </c:pt>
                <c:pt idx="7885">
                  <c:v>1741.1429999999998</c:v>
                </c:pt>
                <c:pt idx="7886">
                  <c:v>1741.0110000000002</c:v>
                </c:pt>
                <c:pt idx="7887">
                  <c:v>1739.36</c:v>
                </c:pt>
                <c:pt idx="7888">
                  <c:v>1738.73</c:v>
                </c:pt>
                <c:pt idx="7889">
                  <c:v>1737.4560000000001</c:v>
                </c:pt>
                <c:pt idx="7890">
                  <c:v>1737.2380000000001</c:v>
                </c:pt>
                <c:pt idx="7891">
                  <c:v>1735.0709999999999</c:v>
                </c:pt>
                <c:pt idx="7892">
                  <c:v>1734.2650000000001</c:v>
                </c:pt>
                <c:pt idx="7893">
                  <c:v>1733.165</c:v>
                </c:pt>
                <c:pt idx="7894">
                  <c:v>1733.1179999999999</c:v>
                </c:pt>
                <c:pt idx="7895">
                  <c:v>1731.566</c:v>
                </c:pt>
                <c:pt idx="7896">
                  <c:v>1728.4830000000002</c:v>
                </c:pt>
                <c:pt idx="7897">
                  <c:v>1726.8639999999998</c:v>
                </c:pt>
                <c:pt idx="7898">
                  <c:v>1726.595</c:v>
                </c:pt>
                <c:pt idx="7899">
                  <c:v>1726.5660000000003</c:v>
                </c:pt>
                <c:pt idx="7900">
                  <c:v>1723.0060000000001</c:v>
                </c:pt>
                <c:pt idx="7901">
                  <c:v>1719.9180000000001</c:v>
                </c:pt>
                <c:pt idx="7902">
                  <c:v>1719.8070000000002</c:v>
                </c:pt>
                <c:pt idx="7903">
                  <c:v>1716.0220000000002</c:v>
                </c:pt>
                <c:pt idx="7904">
                  <c:v>1714.078</c:v>
                </c:pt>
                <c:pt idx="7905">
                  <c:v>1713.732</c:v>
                </c:pt>
                <c:pt idx="7906">
                  <c:v>1713.0230000000004</c:v>
                </c:pt>
                <c:pt idx="7907">
                  <c:v>1712.769</c:v>
                </c:pt>
                <c:pt idx="7908">
                  <c:v>1710.9560000000001</c:v>
                </c:pt>
                <c:pt idx="7909">
                  <c:v>1710.8409999999999</c:v>
                </c:pt>
                <c:pt idx="7910">
                  <c:v>1709.585</c:v>
                </c:pt>
                <c:pt idx="7911">
                  <c:v>1708.712</c:v>
                </c:pt>
                <c:pt idx="7912">
                  <c:v>1707.9839999999999</c:v>
                </c:pt>
                <c:pt idx="7913">
                  <c:v>1705.4070000000011</c:v>
                </c:pt>
                <c:pt idx="7914">
                  <c:v>1704.1429999999998</c:v>
                </c:pt>
                <c:pt idx="7915">
                  <c:v>1704.02</c:v>
                </c:pt>
                <c:pt idx="7916">
                  <c:v>1702.1929999999998</c:v>
                </c:pt>
                <c:pt idx="7917">
                  <c:v>1702.1859999999999</c:v>
                </c:pt>
                <c:pt idx="7918">
                  <c:v>1702.0539999999999</c:v>
                </c:pt>
                <c:pt idx="7919">
                  <c:v>1701.319</c:v>
                </c:pt>
                <c:pt idx="7920">
                  <c:v>1699.2360000000001</c:v>
                </c:pt>
                <c:pt idx="7921">
                  <c:v>1698.3709999999999</c:v>
                </c:pt>
                <c:pt idx="7922">
                  <c:v>1698.3139999999999</c:v>
                </c:pt>
                <c:pt idx="7923">
                  <c:v>1697.4939999999999</c:v>
                </c:pt>
                <c:pt idx="7924">
                  <c:v>1695.2719999999997</c:v>
                </c:pt>
                <c:pt idx="7925">
                  <c:v>1693.845</c:v>
                </c:pt>
                <c:pt idx="7926">
                  <c:v>1692.7950000000001</c:v>
                </c:pt>
                <c:pt idx="7927">
                  <c:v>1692.5419999999999</c:v>
                </c:pt>
                <c:pt idx="7928">
                  <c:v>1691.665</c:v>
                </c:pt>
                <c:pt idx="7929">
                  <c:v>1687.2360000000001</c:v>
                </c:pt>
                <c:pt idx="7930">
                  <c:v>1685.8029999999999</c:v>
                </c:pt>
                <c:pt idx="7931">
                  <c:v>1684.6489999999999</c:v>
                </c:pt>
                <c:pt idx="7932">
                  <c:v>1684.5650000000001</c:v>
                </c:pt>
                <c:pt idx="7933">
                  <c:v>1684.424</c:v>
                </c:pt>
                <c:pt idx="7934">
                  <c:v>1683.4770000000001</c:v>
                </c:pt>
                <c:pt idx="7935">
                  <c:v>1678.47</c:v>
                </c:pt>
                <c:pt idx="7936">
                  <c:v>1678.1369999999999</c:v>
                </c:pt>
                <c:pt idx="7937">
                  <c:v>1677.0239999999999</c:v>
                </c:pt>
                <c:pt idx="7938">
                  <c:v>1676.453</c:v>
                </c:pt>
                <c:pt idx="7939">
                  <c:v>1673.627</c:v>
                </c:pt>
                <c:pt idx="7940">
                  <c:v>1672.41</c:v>
                </c:pt>
                <c:pt idx="7941">
                  <c:v>1672.0249999999999</c:v>
                </c:pt>
                <c:pt idx="7942">
                  <c:v>1671.6579999999999</c:v>
                </c:pt>
                <c:pt idx="7943">
                  <c:v>1671.4839999999999</c:v>
                </c:pt>
                <c:pt idx="7944">
                  <c:v>1670.2310000000002</c:v>
                </c:pt>
                <c:pt idx="7945">
                  <c:v>1670.0139999999999</c:v>
                </c:pt>
                <c:pt idx="7946">
                  <c:v>1668.8539999999998</c:v>
                </c:pt>
                <c:pt idx="7947">
                  <c:v>1668.6409999999998</c:v>
                </c:pt>
                <c:pt idx="7948">
                  <c:v>1665.9380000000001</c:v>
                </c:pt>
                <c:pt idx="7949">
                  <c:v>1664.9860000000001</c:v>
                </c:pt>
                <c:pt idx="7950">
                  <c:v>1662.4570000000001</c:v>
                </c:pt>
                <c:pt idx="7951">
                  <c:v>1660.6389999999999</c:v>
                </c:pt>
                <c:pt idx="7952">
                  <c:v>1659.0749999999998</c:v>
                </c:pt>
                <c:pt idx="7953">
                  <c:v>1658.3809999999999</c:v>
                </c:pt>
                <c:pt idx="7954">
                  <c:v>1657.7629999999999</c:v>
                </c:pt>
                <c:pt idx="7955">
                  <c:v>1656.308</c:v>
                </c:pt>
                <c:pt idx="7956">
                  <c:v>1655.732</c:v>
                </c:pt>
                <c:pt idx="7957">
                  <c:v>1652.2739999999999</c:v>
                </c:pt>
                <c:pt idx="7958">
                  <c:v>1651.2850000000001</c:v>
                </c:pt>
                <c:pt idx="7959">
                  <c:v>1650.36</c:v>
                </c:pt>
                <c:pt idx="7960">
                  <c:v>1650.2500000000002</c:v>
                </c:pt>
                <c:pt idx="7961">
                  <c:v>1650.2220000000002</c:v>
                </c:pt>
                <c:pt idx="7962">
                  <c:v>1649.5260000000001</c:v>
                </c:pt>
                <c:pt idx="7963">
                  <c:v>1647.7430000000002</c:v>
                </c:pt>
                <c:pt idx="7964">
                  <c:v>1647.0429999999999</c:v>
                </c:pt>
                <c:pt idx="7965">
                  <c:v>1646.6999999999998</c:v>
                </c:pt>
                <c:pt idx="7966">
                  <c:v>1646.2270000000001</c:v>
                </c:pt>
                <c:pt idx="7967">
                  <c:v>1644.5639999999999</c:v>
                </c:pt>
                <c:pt idx="7968">
                  <c:v>1643.088</c:v>
                </c:pt>
                <c:pt idx="7969">
                  <c:v>1642.5</c:v>
                </c:pt>
                <c:pt idx="7970">
                  <c:v>1640.4560000000001</c:v>
                </c:pt>
                <c:pt idx="7971">
                  <c:v>1635.2270000000001</c:v>
                </c:pt>
                <c:pt idx="7972">
                  <c:v>1633.6839999999988</c:v>
                </c:pt>
                <c:pt idx="7973">
                  <c:v>1632.576</c:v>
                </c:pt>
                <c:pt idx="7974">
                  <c:v>1631.36</c:v>
                </c:pt>
                <c:pt idx="7975">
                  <c:v>1628.8698890000001</c:v>
                </c:pt>
                <c:pt idx="7976">
                  <c:v>1626.9290000000001</c:v>
                </c:pt>
                <c:pt idx="7977">
                  <c:v>1624.221</c:v>
                </c:pt>
                <c:pt idx="7978">
                  <c:v>1622.77</c:v>
                </c:pt>
                <c:pt idx="7979">
                  <c:v>1622.4370000000001</c:v>
                </c:pt>
                <c:pt idx="7980">
                  <c:v>1617.4080000000001</c:v>
                </c:pt>
                <c:pt idx="7981">
                  <c:v>1611.56</c:v>
                </c:pt>
                <c:pt idx="7982">
                  <c:v>1611.2180000000001</c:v>
                </c:pt>
                <c:pt idx="7983">
                  <c:v>1608.9230000000002</c:v>
                </c:pt>
                <c:pt idx="7984">
                  <c:v>1607.0550000000001</c:v>
                </c:pt>
                <c:pt idx="7985">
                  <c:v>1607.0139999999999</c:v>
                </c:pt>
                <c:pt idx="7986">
                  <c:v>1605.0229999999999</c:v>
                </c:pt>
                <c:pt idx="7987">
                  <c:v>1602.6549999999984</c:v>
                </c:pt>
                <c:pt idx="7988">
                  <c:v>1599.789</c:v>
                </c:pt>
                <c:pt idx="7989">
                  <c:v>1599.2570000000001</c:v>
                </c:pt>
                <c:pt idx="7990">
                  <c:v>1597.1879999999999</c:v>
                </c:pt>
                <c:pt idx="7991">
                  <c:v>1597.1479999999999</c:v>
                </c:pt>
                <c:pt idx="7992">
                  <c:v>1593.1619999999998</c:v>
                </c:pt>
                <c:pt idx="7993">
                  <c:v>1592.8709999999999</c:v>
                </c:pt>
                <c:pt idx="7994">
                  <c:v>1590.83</c:v>
                </c:pt>
                <c:pt idx="7995">
                  <c:v>1590.1989999999998</c:v>
                </c:pt>
                <c:pt idx="7996">
                  <c:v>1586.4</c:v>
                </c:pt>
                <c:pt idx="7997">
                  <c:v>1584.258</c:v>
                </c:pt>
                <c:pt idx="7998">
                  <c:v>1582.885</c:v>
                </c:pt>
                <c:pt idx="7999">
                  <c:v>1582.4560000000001</c:v>
                </c:pt>
                <c:pt idx="8000">
                  <c:v>1578.066</c:v>
                </c:pt>
                <c:pt idx="8001">
                  <c:v>1577.846</c:v>
                </c:pt>
                <c:pt idx="8002">
                  <c:v>1574.9950000000001</c:v>
                </c:pt>
                <c:pt idx="8003">
                  <c:v>1574.259</c:v>
                </c:pt>
                <c:pt idx="8004">
                  <c:v>1573.557</c:v>
                </c:pt>
                <c:pt idx="8005">
                  <c:v>1573.258</c:v>
                </c:pt>
                <c:pt idx="8006">
                  <c:v>1572.9070000000011</c:v>
                </c:pt>
                <c:pt idx="8007">
                  <c:v>1571.479</c:v>
                </c:pt>
                <c:pt idx="8008">
                  <c:v>1570.7180000000001</c:v>
                </c:pt>
                <c:pt idx="8009">
                  <c:v>1568.5990000000002</c:v>
                </c:pt>
                <c:pt idx="8010">
                  <c:v>1567.347</c:v>
                </c:pt>
                <c:pt idx="8011">
                  <c:v>1565.7860000000001</c:v>
                </c:pt>
                <c:pt idx="8012">
                  <c:v>1564.3239999999998</c:v>
                </c:pt>
                <c:pt idx="8013">
                  <c:v>1563.0609999999999</c:v>
                </c:pt>
                <c:pt idx="8014">
                  <c:v>1559.8979999999999</c:v>
                </c:pt>
                <c:pt idx="8015">
                  <c:v>1558.5260000000001</c:v>
                </c:pt>
                <c:pt idx="8016">
                  <c:v>1555.98</c:v>
                </c:pt>
                <c:pt idx="8017">
                  <c:v>1555.729</c:v>
                </c:pt>
                <c:pt idx="8018">
                  <c:v>1555.3519999999999</c:v>
                </c:pt>
                <c:pt idx="8019">
                  <c:v>1555.211</c:v>
                </c:pt>
                <c:pt idx="8020">
                  <c:v>1553.82</c:v>
                </c:pt>
                <c:pt idx="8021">
                  <c:v>1553.3529999999998</c:v>
                </c:pt>
                <c:pt idx="8022">
                  <c:v>1552.8969999999999</c:v>
                </c:pt>
                <c:pt idx="8023">
                  <c:v>1552.2990000000002</c:v>
                </c:pt>
                <c:pt idx="8024">
                  <c:v>1551.3050000000001</c:v>
                </c:pt>
                <c:pt idx="8025">
                  <c:v>1551.069</c:v>
                </c:pt>
                <c:pt idx="8026">
                  <c:v>1549.248</c:v>
                </c:pt>
                <c:pt idx="8027">
                  <c:v>1547.942</c:v>
                </c:pt>
                <c:pt idx="8028">
                  <c:v>1547.3979999999999</c:v>
                </c:pt>
                <c:pt idx="8029">
                  <c:v>1546.2670000000001</c:v>
                </c:pt>
                <c:pt idx="8030">
                  <c:v>1545.636</c:v>
                </c:pt>
                <c:pt idx="8031">
                  <c:v>1544.5</c:v>
                </c:pt>
                <c:pt idx="8032">
                  <c:v>1543.5060000000001</c:v>
                </c:pt>
                <c:pt idx="8033">
                  <c:v>1542.3770000000002</c:v>
                </c:pt>
                <c:pt idx="8034">
                  <c:v>1541.8290000000002</c:v>
                </c:pt>
                <c:pt idx="8035">
                  <c:v>1541.7639999999999</c:v>
                </c:pt>
                <c:pt idx="8036">
                  <c:v>1540.9749999999999</c:v>
                </c:pt>
                <c:pt idx="8037">
                  <c:v>1540.8319999999999</c:v>
                </c:pt>
                <c:pt idx="8038">
                  <c:v>1540.2380000000001</c:v>
                </c:pt>
                <c:pt idx="8039">
                  <c:v>1538.481</c:v>
                </c:pt>
                <c:pt idx="8040">
                  <c:v>1538.2430000000002</c:v>
                </c:pt>
                <c:pt idx="8041">
                  <c:v>1537.6479999999999</c:v>
                </c:pt>
                <c:pt idx="8042">
                  <c:v>1537.5039999999999</c:v>
                </c:pt>
                <c:pt idx="8043">
                  <c:v>1535.76</c:v>
                </c:pt>
                <c:pt idx="8044">
                  <c:v>1533.866</c:v>
                </c:pt>
                <c:pt idx="8045">
                  <c:v>1532.6919999999998</c:v>
                </c:pt>
                <c:pt idx="8046">
                  <c:v>1529.6409999999998</c:v>
                </c:pt>
                <c:pt idx="8047">
                  <c:v>1529.0260000000001</c:v>
                </c:pt>
                <c:pt idx="8048">
                  <c:v>1527.4960000000001</c:v>
                </c:pt>
                <c:pt idx="8049">
                  <c:v>1527.424</c:v>
                </c:pt>
                <c:pt idx="8050">
                  <c:v>1524.991</c:v>
                </c:pt>
                <c:pt idx="8051">
                  <c:v>1522.4560000000001</c:v>
                </c:pt>
                <c:pt idx="8052">
                  <c:v>1521.1339999999998</c:v>
                </c:pt>
                <c:pt idx="8053">
                  <c:v>1519.9030000000002</c:v>
                </c:pt>
                <c:pt idx="8054">
                  <c:v>1517.73</c:v>
                </c:pt>
                <c:pt idx="8055">
                  <c:v>1517.3470000000002</c:v>
                </c:pt>
                <c:pt idx="8056">
                  <c:v>1514.5450000000001</c:v>
                </c:pt>
                <c:pt idx="8057">
                  <c:v>1513.4510000000002</c:v>
                </c:pt>
                <c:pt idx="8058">
                  <c:v>1512.316</c:v>
                </c:pt>
                <c:pt idx="8059">
                  <c:v>1511.942</c:v>
                </c:pt>
                <c:pt idx="8060">
                  <c:v>1511.8859999999997</c:v>
                </c:pt>
                <c:pt idx="8061">
                  <c:v>1511.5770000000002</c:v>
                </c:pt>
                <c:pt idx="8062">
                  <c:v>1507.8679999999999</c:v>
                </c:pt>
                <c:pt idx="8063">
                  <c:v>1507.816</c:v>
                </c:pt>
                <c:pt idx="8064">
                  <c:v>1505.8009999999999</c:v>
                </c:pt>
                <c:pt idx="8065">
                  <c:v>1504.817</c:v>
                </c:pt>
                <c:pt idx="8066">
                  <c:v>1504.7839999999999</c:v>
                </c:pt>
                <c:pt idx="8067">
                  <c:v>1504.1309999999999</c:v>
                </c:pt>
                <c:pt idx="8068">
                  <c:v>1501.4749999999999</c:v>
                </c:pt>
                <c:pt idx="8069">
                  <c:v>1501.248</c:v>
                </c:pt>
                <c:pt idx="8070">
                  <c:v>1498.4240000000002</c:v>
                </c:pt>
                <c:pt idx="8071">
                  <c:v>1497.7139999999999</c:v>
                </c:pt>
                <c:pt idx="8072">
                  <c:v>1496.3999999999999</c:v>
                </c:pt>
                <c:pt idx="8073">
                  <c:v>1495.568</c:v>
                </c:pt>
                <c:pt idx="8074">
                  <c:v>1494.6289999999999</c:v>
                </c:pt>
                <c:pt idx="8075">
                  <c:v>1494.5070000000001</c:v>
                </c:pt>
                <c:pt idx="8076">
                  <c:v>1494.1149999999998</c:v>
                </c:pt>
                <c:pt idx="8077">
                  <c:v>1492.7350000000001</c:v>
                </c:pt>
                <c:pt idx="8078">
                  <c:v>1491.1299999999999</c:v>
                </c:pt>
                <c:pt idx="8079">
                  <c:v>1491.0229999999999</c:v>
                </c:pt>
                <c:pt idx="8080">
                  <c:v>1490.346</c:v>
                </c:pt>
                <c:pt idx="8081">
                  <c:v>1489.0139999999999</c:v>
                </c:pt>
                <c:pt idx="8082">
                  <c:v>1488.289</c:v>
                </c:pt>
                <c:pt idx="8083">
                  <c:v>1487.798</c:v>
                </c:pt>
                <c:pt idx="8084">
                  <c:v>1485.3779999999999</c:v>
                </c:pt>
                <c:pt idx="8085">
                  <c:v>1485.1109999999999</c:v>
                </c:pt>
                <c:pt idx="8086">
                  <c:v>1483.941</c:v>
                </c:pt>
                <c:pt idx="8087">
                  <c:v>1481.8509999999999</c:v>
                </c:pt>
                <c:pt idx="8088">
                  <c:v>1479.6419999999998</c:v>
                </c:pt>
                <c:pt idx="8089">
                  <c:v>1479.598</c:v>
                </c:pt>
                <c:pt idx="8090">
                  <c:v>1479.5800000000002</c:v>
                </c:pt>
                <c:pt idx="8091">
                  <c:v>1476.289</c:v>
                </c:pt>
                <c:pt idx="8092">
                  <c:v>1474.8309999999999</c:v>
                </c:pt>
                <c:pt idx="8093">
                  <c:v>1471.921</c:v>
                </c:pt>
                <c:pt idx="8094">
                  <c:v>1471.818</c:v>
                </c:pt>
                <c:pt idx="8095">
                  <c:v>1469.636</c:v>
                </c:pt>
                <c:pt idx="8096">
                  <c:v>1468.3099999999997</c:v>
                </c:pt>
                <c:pt idx="8097">
                  <c:v>1467.605</c:v>
                </c:pt>
                <c:pt idx="8098">
                  <c:v>1467.287</c:v>
                </c:pt>
                <c:pt idx="8099">
                  <c:v>1465.829</c:v>
                </c:pt>
                <c:pt idx="8100">
                  <c:v>1465.0329999999999</c:v>
                </c:pt>
                <c:pt idx="8101">
                  <c:v>1464.7800000000002</c:v>
                </c:pt>
                <c:pt idx="8102">
                  <c:v>1463.848</c:v>
                </c:pt>
                <c:pt idx="8103">
                  <c:v>1462.8679999999999</c:v>
                </c:pt>
                <c:pt idx="8104">
                  <c:v>1462.4250000000011</c:v>
                </c:pt>
                <c:pt idx="8105">
                  <c:v>1461.5239999999999</c:v>
                </c:pt>
                <c:pt idx="8106">
                  <c:v>1459.7849999999999</c:v>
                </c:pt>
                <c:pt idx="8107">
                  <c:v>1457.626</c:v>
                </c:pt>
                <c:pt idx="8108">
                  <c:v>1457.615</c:v>
                </c:pt>
                <c:pt idx="8109">
                  <c:v>1456.5280000000002</c:v>
                </c:pt>
                <c:pt idx="8110">
                  <c:v>1456.018</c:v>
                </c:pt>
                <c:pt idx="8111">
                  <c:v>1455.3939999999998</c:v>
                </c:pt>
                <c:pt idx="8112">
                  <c:v>1453.7429999999999</c:v>
                </c:pt>
                <c:pt idx="8113">
                  <c:v>1450.1999999999998</c:v>
                </c:pt>
                <c:pt idx="8114">
                  <c:v>1448.3489999999999</c:v>
                </c:pt>
                <c:pt idx="8115">
                  <c:v>1447.0839999999998</c:v>
                </c:pt>
                <c:pt idx="8116">
                  <c:v>1447.0120000000002</c:v>
                </c:pt>
                <c:pt idx="8117">
                  <c:v>1446.5639999999999</c:v>
                </c:pt>
                <c:pt idx="8118">
                  <c:v>1443.991</c:v>
                </c:pt>
                <c:pt idx="8119">
                  <c:v>1443.3390000000002</c:v>
                </c:pt>
                <c:pt idx="8120">
                  <c:v>1443.039</c:v>
                </c:pt>
                <c:pt idx="8121">
                  <c:v>1441.4929999999999</c:v>
                </c:pt>
                <c:pt idx="8122">
                  <c:v>1439.2929999999999</c:v>
                </c:pt>
                <c:pt idx="8123">
                  <c:v>1438.836</c:v>
                </c:pt>
                <c:pt idx="8124">
                  <c:v>1435.1569999999999</c:v>
                </c:pt>
                <c:pt idx="8125">
                  <c:v>1434.712</c:v>
                </c:pt>
                <c:pt idx="8126">
                  <c:v>1433.2919999999999</c:v>
                </c:pt>
                <c:pt idx="8127">
                  <c:v>1430.7060000000001</c:v>
                </c:pt>
                <c:pt idx="8128">
                  <c:v>1430.6349999999998</c:v>
                </c:pt>
                <c:pt idx="8129">
                  <c:v>1430.5960000000002</c:v>
                </c:pt>
                <c:pt idx="8130">
                  <c:v>1430.011</c:v>
                </c:pt>
                <c:pt idx="8131">
                  <c:v>1429.3850000000002</c:v>
                </c:pt>
                <c:pt idx="8132">
                  <c:v>1427.6219999999998</c:v>
                </c:pt>
                <c:pt idx="8133">
                  <c:v>1424.8590000000002</c:v>
                </c:pt>
                <c:pt idx="8134">
                  <c:v>1424.7190000000001</c:v>
                </c:pt>
                <c:pt idx="8135">
                  <c:v>1421.7380000000001</c:v>
                </c:pt>
                <c:pt idx="8136">
                  <c:v>1421.5119999999999</c:v>
                </c:pt>
                <c:pt idx="8137">
                  <c:v>1421.337</c:v>
                </c:pt>
                <c:pt idx="8138">
                  <c:v>1420.3969999999999</c:v>
                </c:pt>
                <c:pt idx="8139">
                  <c:v>1420.1309999999999</c:v>
                </c:pt>
                <c:pt idx="8140">
                  <c:v>1418.809</c:v>
                </c:pt>
                <c:pt idx="8141">
                  <c:v>1418.546</c:v>
                </c:pt>
                <c:pt idx="8142">
                  <c:v>1418.0829999999999</c:v>
                </c:pt>
                <c:pt idx="8143">
                  <c:v>1417.049</c:v>
                </c:pt>
                <c:pt idx="8144">
                  <c:v>1415.7239999999999</c:v>
                </c:pt>
                <c:pt idx="8145">
                  <c:v>1414.1609999999996</c:v>
                </c:pt>
                <c:pt idx="8146">
                  <c:v>1413.596</c:v>
                </c:pt>
                <c:pt idx="8147">
                  <c:v>1412.816</c:v>
                </c:pt>
                <c:pt idx="8148">
                  <c:v>1411.877</c:v>
                </c:pt>
                <c:pt idx="8149">
                  <c:v>1411.8229999999999</c:v>
                </c:pt>
                <c:pt idx="8150">
                  <c:v>1410.8329999999999</c:v>
                </c:pt>
                <c:pt idx="8151">
                  <c:v>1410.8139999999999</c:v>
                </c:pt>
                <c:pt idx="8152">
                  <c:v>1410.479</c:v>
                </c:pt>
                <c:pt idx="8153">
                  <c:v>1409.6409999999998</c:v>
                </c:pt>
                <c:pt idx="8154">
                  <c:v>1409.498</c:v>
                </c:pt>
                <c:pt idx="8155">
                  <c:v>1406.7070000000001</c:v>
                </c:pt>
                <c:pt idx="8156">
                  <c:v>1406.2539999999999</c:v>
                </c:pt>
                <c:pt idx="8157">
                  <c:v>1404.587</c:v>
                </c:pt>
                <c:pt idx="8158">
                  <c:v>1403.8029999999999</c:v>
                </c:pt>
                <c:pt idx="8159">
                  <c:v>1403.0739999999998</c:v>
                </c:pt>
                <c:pt idx="8160">
                  <c:v>1402.9790000000003</c:v>
                </c:pt>
                <c:pt idx="8161">
                  <c:v>1402.223</c:v>
                </c:pt>
                <c:pt idx="8162">
                  <c:v>1401.3239999999998</c:v>
                </c:pt>
                <c:pt idx="8163">
                  <c:v>1400.7190000000001</c:v>
                </c:pt>
                <c:pt idx="8164">
                  <c:v>1397.778</c:v>
                </c:pt>
                <c:pt idx="8165">
                  <c:v>1395.0310000000002</c:v>
                </c:pt>
                <c:pt idx="8166">
                  <c:v>1393.607</c:v>
                </c:pt>
                <c:pt idx="8167">
                  <c:v>1393.3450000000003</c:v>
                </c:pt>
                <c:pt idx="8168">
                  <c:v>1392.7729999999999</c:v>
                </c:pt>
                <c:pt idx="8169">
                  <c:v>1391.3309999999997</c:v>
                </c:pt>
                <c:pt idx="8170">
                  <c:v>1389.576</c:v>
                </c:pt>
                <c:pt idx="8171">
                  <c:v>1386.6419999999998</c:v>
                </c:pt>
                <c:pt idx="8172">
                  <c:v>1385.4270000000001</c:v>
                </c:pt>
                <c:pt idx="8173">
                  <c:v>1384.723</c:v>
                </c:pt>
                <c:pt idx="8174">
                  <c:v>1383.1829999999998</c:v>
                </c:pt>
                <c:pt idx="8175">
                  <c:v>1381.72</c:v>
                </c:pt>
                <c:pt idx="8176">
                  <c:v>1381.7139999999999</c:v>
                </c:pt>
                <c:pt idx="8177">
                  <c:v>1379.3280000000002</c:v>
                </c:pt>
                <c:pt idx="8178">
                  <c:v>1378.1319999999998</c:v>
                </c:pt>
                <c:pt idx="8179">
                  <c:v>1377.336</c:v>
                </c:pt>
                <c:pt idx="8180">
                  <c:v>1377.3139999999999</c:v>
                </c:pt>
                <c:pt idx="8181">
                  <c:v>1376.54</c:v>
                </c:pt>
                <c:pt idx="8182">
                  <c:v>1376.3</c:v>
                </c:pt>
                <c:pt idx="8183">
                  <c:v>1376.0320000000002</c:v>
                </c:pt>
                <c:pt idx="8184">
                  <c:v>1375.096</c:v>
                </c:pt>
                <c:pt idx="8185">
                  <c:v>1374.7999999999997</c:v>
                </c:pt>
                <c:pt idx="8186">
                  <c:v>1371.998</c:v>
                </c:pt>
                <c:pt idx="8187">
                  <c:v>1370.509</c:v>
                </c:pt>
                <c:pt idx="8188">
                  <c:v>1367.3329999999999</c:v>
                </c:pt>
                <c:pt idx="8189">
                  <c:v>1367.1799999999998</c:v>
                </c:pt>
                <c:pt idx="8190">
                  <c:v>1367.0339999999999</c:v>
                </c:pt>
                <c:pt idx="8191">
                  <c:v>1366.5139999999999</c:v>
                </c:pt>
                <c:pt idx="8192">
                  <c:v>1366.008</c:v>
                </c:pt>
                <c:pt idx="8193">
                  <c:v>1365.1939999999986</c:v>
                </c:pt>
                <c:pt idx="8194">
                  <c:v>1365.1729999999998</c:v>
                </c:pt>
                <c:pt idx="8195">
                  <c:v>1365.1039999999998</c:v>
                </c:pt>
                <c:pt idx="8196">
                  <c:v>1364.2939999999999</c:v>
                </c:pt>
                <c:pt idx="8197">
                  <c:v>1364.0960000000002</c:v>
                </c:pt>
                <c:pt idx="8198">
                  <c:v>1362.9740000000002</c:v>
                </c:pt>
                <c:pt idx="8199">
                  <c:v>1360.1129999999998</c:v>
                </c:pt>
                <c:pt idx="8200">
                  <c:v>1359.1369999999999</c:v>
                </c:pt>
                <c:pt idx="8201">
                  <c:v>1357.6189999999999</c:v>
                </c:pt>
                <c:pt idx="8202">
                  <c:v>1354.2250000000001</c:v>
                </c:pt>
                <c:pt idx="8203">
                  <c:v>1354.069</c:v>
                </c:pt>
                <c:pt idx="8204">
                  <c:v>1352.7050000000011</c:v>
                </c:pt>
                <c:pt idx="8205">
                  <c:v>1349.845</c:v>
                </c:pt>
                <c:pt idx="8206">
                  <c:v>1346.2649999999999</c:v>
                </c:pt>
                <c:pt idx="8207">
                  <c:v>1346.048</c:v>
                </c:pt>
                <c:pt idx="8208">
                  <c:v>1345.41</c:v>
                </c:pt>
                <c:pt idx="8209">
                  <c:v>1343.299</c:v>
                </c:pt>
                <c:pt idx="8210">
                  <c:v>1343.242</c:v>
                </c:pt>
                <c:pt idx="8211">
                  <c:v>1343.1909999999998</c:v>
                </c:pt>
                <c:pt idx="8212">
                  <c:v>1341.9370000000001</c:v>
                </c:pt>
                <c:pt idx="8213">
                  <c:v>1340.3579999999999</c:v>
                </c:pt>
                <c:pt idx="8214">
                  <c:v>1340.3219999999999</c:v>
                </c:pt>
                <c:pt idx="8215">
                  <c:v>1338.6929999999998</c:v>
                </c:pt>
                <c:pt idx="8216">
                  <c:v>1338.498</c:v>
                </c:pt>
                <c:pt idx="8217">
                  <c:v>1338.2450000000001</c:v>
                </c:pt>
                <c:pt idx="8218">
                  <c:v>1333.856</c:v>
                </c:pt>
                <c:pt idx="8219">
                  <c:v>1333.2849999999999</c:v>
                </c:pt>
                <c:pt idx="8220">
                  <c:v>1332.0149999999999</c:v>
                </c:pt>
                <c:pt idx="8221">
                  <c:v>1331.1779999999999</c:v>
                </c:pt>
                <c:pt idx="8222">
                  <c:v>1330.1559999999999</c:v>
                </c:pt>
                <c:pt idx="8223">
                  <c:v>1329.6999999999998</c:v>
                </c:pt>
                <c:pt idx="8224">
                  <c:v>1328.4110000000001</c:v>
                </c:pt>
                <c:pt idx="8225">
                  <c:v>1327.6969999999999</c:v>
                </c:pt>
                <c:pt idx="8226">
                  <c:v>1323.1839999999986</c:v>
                </c:pt>
                <c:pt idx="8227">
                  <c:v>1321.1649999999984</c:v>
                </c:pt>
                <c:pt idx="8228">
                  <c:v>1320.1089999999999</c:v>
                </c:pt>
                <c:pt idx="8229">
                  <c:v>1319.963</c:v>
                </c:pt>
                <c:pt idx="8230">
                  <c:v>1318.885</c:v>
                </c:pt>
                <c:pt idx="8231">
                  <c:v>1316.9939999999999</c:v>
                </c:pt>
                <c:pt idx="8232">
                  <c:v>1316.1189999999999</c:v>
                </c:pt>
                <c:pt idx="8233">
                  <c:v>1315.5350000000001</c:v>
                </c:pt>
                <c:pt idx="8234">
                  <c:v>1315.1539999999998</c:v>
                </c:pt>
                <c:pt idx="8235">
                  <c:v>1310.827</c:v>
                </c:pt>
                <c:pt idx="8236">
                  <c:v>1308.2460000000001</c:v>
                </c:pt>
                <c:pt idx="8237">
                  <c:v>1307.453</c:v>
                </c:pt>
                <c:pt idx="8238">
                  <c:v>1302.8699999999999</c:v>
                </c:pt>
                <c:pt idx="8239">
                  <c:v>1302.2460000000001</c:v>
                </c:pt>
                <c:pt idx="8240">
                  <c:v>1299.748</c:v>
                </c:pt>
                <c:pt idx="8241">
                  <c:v>1298.8709999999999</c:v>
                </c:pt>
                <c:pt idx="8242">
                  <c:v>1294.201</c:v>
                </c:pt>
                <c:pt idx="8243">
                  <c:v>1292.8780000000002</c:v>
                </c:pt>
                <c:pt idx="8244">
                  <c:v>1292.569</c:v>
                </c:pt>
                <c:pt idx="8245">
                  <c:v>1292.0439999999999</c:v>
                </c:pt>
                <c:pt idx="8246">
                  <c:v>1291.1979999999999</c:v>
                </c:pt>
                <c:pt idx="8247">
                  <c:v>1290.5680000000002</c:v>
                </c:pt>
                <c:pt idx="8248">
                  <c:v>1288.6339999999998</c:v>
                </c:pt>
                <c:pt idx="8249">
                  <c:v>1286.5219999999999</c:v>
                </c:pt>
                <c:pt idx="8250">
                  <c:v>1283.1689999999999</c:v>
                </c:pt>
                <c:pt idx="8251">
                  <c:v>1282.2639999999999</c:v>
                </c:pt>
                <c:pt idx="8252">
                  <c:v>1281.106</c:v>
                </c:pt>
                <c:pt idx="8253">
                  <c:v>1280.838</c:v>
                </c:pt>
                <c:pt idx="8254">
                  <c:v>1278.479</c:v>
                </c:pt>
                <c:pt idx="8255">
                  <c:v>1277.4280000000001</c:v>
                </c:pt>
                <c:pt idx="8256">
                  <c:v>1276.4680000000001</c:v>
                </c:pt>
                <c:pt idx="8257">
                  <c:v>1273.9000000000001</c:v>
                </c:pt>
                <c:pt idx="8258">
                  <c:v>1272.4110000000001</c:v>
                </c:pt>
                <c:pt idx="8259">
                  <c:v>1272.3309999999999</c:v>
                </c:pt>
                <c:pt idx="8260">
                  <c:v>1268.9780000000001</c:v>
                </c:pt>
                <c:pt idx="8261">
                  <c:v>1268.8209999999999</c:v>
                </c:pt>
                <c:pt idx="8262">
                  <c:v>1267.1379999999999</c:v>
                </c:pt>
                <c:pt idx="8263">
                  <c:v>1266.6129999999998</c:v>
                </c:pt>
                <c:pt idx="8264">
                  <c:v>1266.1329999999998</c:v>
                </c:pt>
                <c:pt idx="8265">
                  <c:v>1265.5139999999999</c:v>
                </c:pt>
                <c:pt idx="8266">
                  <c:v>1265.0619999999999</c:v>
                </c:pt>
                <c:pt idx="8267">
                  <c:v>1264.5119999999999</c:v>
                </c:pt>
                <c:pt idx="8268">
                  <c:v>1264.2460000000001</c:v>
                </c:pt>
                <c:pt idx="8269">
                  <c:v>1263.701</c:v>
                </c:pt>
                <c:pt idx="8270">
                  <c:v>1263.1219999999998</c:v>
                </c:pt>
                <c:pt idx="8271">
                  <c:v>1262.7410000000002</c:v>
                </c:pt>
                <c:pt idx="8272">
                  <c:v>1261.1819999999998</c:v>
                </c:pt>
                <c:pt idx="8273">
                  <c:v>1258.521</c:v>
                </c:pt>
                <c:pt idx="8274">
                  <c:v>1256.6009999999999</c:v>
                </c:pt>
                <c:pt idx="8275">
                  <c:v>1253.0519999999999</c:v>
                </c:pt>
                <c:pt idx="8276">
                  <c:v>1251.8019999999999</c:v>
                </c:pt>
                <c:pt idx="8277">
                  <c:v>1248.1389999999999</c:v>
                </c:pt>
                <c:pt idx="8278">
                  <c:v>1246.6199999999999</c:v>
                </c:pt>
                <c:pt idx="8279">
                  <c:v>1245.002</c:v>
                </c:pt>
                <c:pt idx="8280">
                  <c:v>1242.98</c:v>
                </c:pt>
                <c:pt idx="8281">
                  <c:v>1242.557</c:v>
                </c:pt>
                <c:pt idx="8282">
                  <c:v>1241.0320000000002</c:v>
                </c:pt>
                <c:pt idx="8283">
                  <c:v>1237.3709999999999</c:v>
                </c:pt>
                <c:pt idx="8284">
                  <c:v>1236.202</c:v>
                </c:pt>
                <c:pt idx="8285">
                  <c:v>1232.3629999999998</c:v>
                </c:pt>
                <c:pt idx="8286">
                  <c:v>1232.047</c:v>
                </c:pt>
                <c:pt idx="8287">
                  <c:v>1223.1599999999999</c:v>
                </c:pt>
                <c:pt idx="8288">
                  <c:v>1222.261</c:v>
                </c:pt>
                <c:pt idx="8289">
                  <c:v>1221.1319999999998</c:v>
                </c:pt>
                <c:pt idx="8290">
                  <c:v>1220.94</c:v>
                </c:pt>
                <c:pt idx="8291">
                  <c:v>1219.203</c:v>
                </c:pt>
                <c:pt idx="8292">
                  <c:v>1218.1699999999998</c:v>
                </c:pt>
                <c:pt idx="8293">
                  <c:v>1217.71</c:v>
                </c:pt>
                <c:pt idx="8294">
                  <c:v>1216.1629999999998</c:v>
                </c:pt>
                <c:pt idx="8295">
                  <c:v>1215.2719999999999</c:v>
                </c:pt>
                <c:pt idx="8296">
                  <c:v>1214.2919999999999</c:v>
                </c:pt>
                <c:pt idx="8297">
                  <c:v>1213.4530000000002</c:v>
                </c:pt>
                <c:pt idx="8298">
                  <c:v>1213.241</c:v>
                </c:pt>
                <c:pt idx="8299">
                  <c:v>1210.6349999999998</c:v>
                </c:pt>
                <c:pt idx="8300">
                  <c:v>1209.903</c:v>
                </c:pt>
                <c:pt idx="8301">
                  <c:v>1205.4939999999999</c:v>
                </c:pt>
                <c:pt idx="8302">
                  <c:v>1201.5819999999999</c:v>
                </c:pt>
                <c:pt idx="8303">
                  <c:v>1201.1099999999999</c:v>
                </c:pt>
                <c:pt idx="8304">
                  <c:v>1201.088</c:v>
                </c:pt>
                <c:pt idx="8305">
                  <c:v>1200.8129999999999</c:v>
                </c:pt>
                <c:pt idx="8306">
                  <c:v>1200.019</c:v>
                </c:pt>
                <c:pt idx="8307">
                  <c:v>1199.6559999999999</c:v>
                </c:pt>
                <c:pt idx="8308">
                  <c:v>1199.1829999999998</c:v>
                </c:pt>
                <c:pt idx="8309">
                  <c:v>1197.7729999999999</c:v>
                </c:pt>
                <c:pt idx="8310">
                  <c:v>1197.318</c:v>
                </c:pt>
                <c:pt idx="8311">
                  <c:v>1196.4320000000002</c:v>
                </c:pt>
                <c:pt idx="8312">
                  <c:v>1196.2200000000003</c:v>
                </c:pt>
                <c:pt idx="8313">
                  <c:v>1195.835</c:v>
                </c:pt>
                <c:pt idx="8314">
                  <c:v>1194.7660000000001</c:v>
                </c:pt>
                <c:pt idx="8315">
                  <c:v>1194.527</c:v>
                </c:pt>
                <c:pt idx="8316">
                  <c:v>1189.895</c:v>
                </c:pt>
                <c:pt idx="8317">
                  <c:v>1189.6639999999998</c:v>
                </c:pt>
                <c:pt idx="8318">
                  <c:v>1189.2560000000001</c:v>
                </c:pt>
                <c:pt idx="8319">
                  <c:v>1187.588</c:v>
                </c:pt>
                <c:pt idx="8320">
                  <c:v>1187.559</c:v>
                </c:pt>
                <c:pt idx="8321">
                  <c:v>1187.3899999999999</c:v>
                </c:pt>
                <c:pt idx="8322">
                  <c:v>1187.2370000000001</c:v>
                </c:pt>
                <c:pt idx="8323">
                  <c:v>1186.9549999999999</c:v>
                </c:pt>
                <c:pt idx="8324">
                  <c:v>1182.579</c:v>
                </c:pt>
                <c:pt idx="8325">
                  <c:v>1179.0999999999999</c:v>
                </c:pt>
                <c:pt idx="8326">
                  <c:v>1179.0250000000001</c:v>
                </c:pt>
                <c:pt idx="8327">
                  <c:v>1177.6579999999999</c:v>
                </c:pt>
                <c:pt idx="8328">
                  <c:v>1177.4170000000001</c:v>
                </c:pt>
                <c:pt idx="8329">
                  <c:v>1175.4170000000001</c:v>
                </c:pt>
                <c:pt idx="8330">
                  <c:v>1174.3319999999999</c:v>
                </c:pt>
                <c:pt idx="8331">
                  <c:v>1173.0050000000001</c:v>
                </c:pt>
                <c:pt idx="8332">
                  <c:v>1169.386</c:v>
                </c:pt>
                <c:pt idx="8333">
                  <c:v>1166.5719999999999</c:v>
                </c:pt>
                <c:pt idx="8334">
                  <c:v>1165.8009999999999</c:v>
                </c:pt>
                <c:pt idx="8335">
                  <c:v>1165.2929999999999</c:v>
                </c:pt>
                <c:pt idx="8336">
                  <c:v>1164.2439999999999</c:v>
                </c:pt>
                <c:pt idx="8337">
                  <c:v>1163.6969999999999</c:v>
                </c:pt>
                <c:pt idx="8338">
                  <c:v>1160.7429999999999</c:v>
                </c:pt>
                <c:pt idx="8339">
                  <c:v>1157.3729999999998</c:v>
                </c:pt>
                <c:pt idx="8340">
                  <c:v>1153.7080000000001</c:v>
                </c:pt>
                <c:pt idx="8341">
                  <c:v>1151.3329999999999</c:v>
                </c:pt>
                <c:pt idx="8342">
                  <c:v>1150.1659999999999</c:v>
                </c:pt>
                <c:pt idx="8343">
                  <c:v>1145.6809999999998</c:v>
                </c:pt>
                <c:pt idx="8344">
                  <c:v>1143.9100000000001</c:v>
                </c:pt>
                <c:pt idx="8345">
                  <c:v>1143.759</c:v>
                </c:pt>
                <c:pt idx="8346">
                  <c:v>1142.6389999999999</c:v>
                </c:pt>
                <c:pt idx="8347">
                  <c:v>1141.1389999999999</c:v>
                </c:pt>
                <c:pt idx="8348">
                  <c:v>1124.7439999999999</c:v>
                </c:pt>
                <c:pt idx="8349">
                  <c:v>1123.501</c:v>
                </c:pt>
                <c:pt idx="8350">
                  <c:v>1120.5050000000001</c:v>
                </c:pt>
                <c:pt idx="8351">
                  <c:v>1120.079</c:v>
                </c:pt>
                <c:pt idx="8352">
                  <c:v>1119.0160000000001</c:v>
                </c:pt>
                <c:pt idx="8353">
                  <c:v>1118.57</c:v>
                </c:pt>
                <c:pt idx="8354">
                  <c:v>1118.451</c:v>
                </c:pt>
                <c:pt idx="8355">
                  <c:v>1114.1489999999999</c:v>
                </c:pt>
                <c:pt idx="8356">
                  <c:v>1113.6329999999998</c:v>
                </c:pt>
                <c:pt idx="8357">
                  <c:v>1111.7329999999999</c:v>
                </c:pt>
                <c:pt idx="8358">
                  <c:v>1110.8490000000002</c:v>
                </c:pt>
                <c:pt idx="8359">
                  <c:v>1109.2049999999999</c:v>
                </c:pt>
                <c:pt idx="8360">
                  <c:v>1109.1339999999998</c:v>
                </c:pt>
                <c:pt idx="8361">
                  <c:v>1108.2839999999999</c:v>
                </c:pt>
                <c:pt idx="8362">
                  <c:v>1107.269</c:v>
                </c:pt>
                <c:pt idx="8363">
                  <c:v>1103.2160000000001</c:v>
                </c:pt>
                <c:pt idx="8364">
                  <c:v>1102.5429999999999</c:v>
                </c:pt>
                <c:pt idx="8365">
                  <c:v>1102.509</c:v>
                </c:pt>
                <c:pt idx="8366">
                  <c:v>1101.828</c:v>
                </c:pt>
                <c:pt idx="8367">
                  <c:v>1101.5329999999999</c:v>
                </c:pt>
                <c:pt idx="8368">
                  <c:v>1097.953</c:v>
                </c:pt>
                <c:pt idx="8369">
                  <c:v>1096.3249999999998</c:v>
                </c:pt>
                <c:pt idx="8370">
                  <c:v>1095.1539999999998</c:v>
                </c:pt>
                <c:pt idx="8371">
                  <c:v>1093.0329999999999</c:v>
                </c:pt>
                <c:pt idx="8372">
                  <c:v>1091.807</c:v>
                </c:pt>
                <c:pt idx="8373">
                  <c:v>1087.268</c:v>
                </c:pt>
                <c:pt idx="8374">
                  <c:v>1085.463</c:v>
                </c:pt>
                <c:pt idx="8375">
                  <c:v>1082.3309999999999</c:v>
                </c:pt>
                <c:pt idx="8376">
                  <c:v>1081.6309999999999</c:v>
                </c:pt>
                <c:pt idx="8377">
                  <c:v>1081.4639999999999</c:v>
                </c:pt>
                <c:pt idx="8378">
                  <c:v>1080.6779999999999</c:v>
                </c:pt>
                <c:pt idx="8379">
                  <c:v>1080.43</c:v>
                </c:pt>
                <c:pt idx="8380">
                  <c:v>1079.2370000000001</c:v>
                </c:pt>
                <c:pt idx="8381">
                  <c:v>1076.345</c:v>
                </c:pt>
                <c:pt idx="8382">
                  <c:v>1076.231</c:v>
                </c:pt>
                <c:pt idx="8383">
                  <c:v>1073.577</c:v>
                </c:pt>
                <c:pt idx="8384">
                  <c:v>1071.665</c:v>
                </c:pt>
                <c:pt idx="8385">
                  <c:v>1068.319</c:v>
                </c:pt>
                <c:pt idx="8386">
                  <c:v>1067.665</c:v>
                </c:pt>
                <c:pt idx="8387">
                  <c:v>1067.53</c:v>
                </c:pt>
                <c:pt idx="8388">
                  <c:v>1066.8999999999999</c:v>
                </c:pt>
                <c:pt idx="8389">
                  <c:v>1063.0970000000002</c:v>
                </c:pt>
                <c:pt idx="8390">
                  <c:v>1059.1699999999998</c:v>
                </c:pt>
                <c:pt idx="8391">
                  <c:v>1059.1299999999999</c:v>
                </c:pt>
                <c:pt idx="8392">
                  <c:v>1057.616</c:v>
                </c:pt>
                <c:pt idx="8393">
                  <c:v>1055.4880000000001</c:v>
                </c:pt>
                <c:pt idx="8394">
                  <c:v>1052.1849999999986</c:v>
                </c:pt>
                <c:pt idx="8395">
                  <c:v>1051.335</c:v>
                </c:pt>
                <c:pt idx="8396">
                  <c:v>1051.2929999999999</c:v>
                </c:pt>
                <c:pt idx="8397">
                  <c:v>1050.4880000000001</c:v>
                </c:pt>
                <c:pt idx="8398">
                  <c:v>1047.3419999999999</c:v>
                </c:pt>
                <c:pt idx="8399">
                  <c:v>1047.0529999999999</c:v>
                </c:pt>
                <c:pt idx="8400">
                  <c:v>1045.3439999999998</c:v>
                </c:pt>
                <c:pt idx="8401">
                  <c:v>1044.8490000000002</c:v>
                </c:pt>
                <c:pt idx="8402">
                  <c:v>1042.1179999999999</c:v>
                </c:pt>
                <c:pt idx="8403">
                  <c:v>1035.271</c:v>
                </c:pt>
                <c:pt idx="8404">
                  <c:v>1030.6309999999999</c:v>
                </c:pt>
                <c:pt idx="8405">
                  <c:v>1030.595</c:v>
                </c:pt>
                <c:pt idx="8406">
                  <c:v>1028.9450000000011</c:v>
                </c:pt>
                <c:pt idx="8407">
                  <c:v>1025.942</c:v>
                </c:pt>
                <c:pt idx="8408">
                  <c:v>1025.807</c:v>
                </c:pt>
                <c:pt idx="8409">
                  <c:v>1025.1499999999999</c:v>
                </c:pt>
                <c:pt idx="8410">
                  <c:v>1023.0609999999994</c:v>
                </c:pt>
                <c:pt idx="8411">
                  <c:v>1022.985</c:v>
                </c:pt>
                <c:pt idx="8412">
                  <c:v>1021.8430000000001</c:v>
                </c:pt>
                <c:pt idx="8413">
                  <c:v>1020.7819999999999</c:v>
                </c:pt>
                <c:pt idx="8414">
                  <c:v>1019.9359999999994</c:v>
                </c:pt>
                <c:pt idx="8415">
                  <c:v>1015.924</c:v>
                </c:pt>
                <c:pt idx="8416">
                  <c:v>1011.2429999999994</c:v>
                </c:pt>
                <c:pt idx="8417">
                  <c:v>1008.0749999999999</c:v>
                </c:pt>
                <c:pt idx="8418">
                  <c:v>1006.8599999999992</c:v>
                </c:pt>
                <c:pt idx="8419">
                  <c:v>1006.502</c:v>
                </c:pt>
                <c:pt idx="8420">
                  <c:v>1006.3689999999993</c:v>
                </c:pt>
                <c:pt idx="8421">
                  <c:v>1003.9590000000001</c:v>
                </c:pt>
                <c:pt idx="8422">
                  <c:v>1003.9340000000001</c:v>
                </c:pt>
                <c:pt idx="8423">
                  <c:v>1002.9009999999994</c:v>
                </c:pt>
                <c:pt idx="8424">
                  <c:v>1002.7559999999999</c:v>
                </c:pt>
                <c:pt idx="8425">
                  <c:v>1001.6420000000001</c:v>
                </c:pt>
                <c:pt idx="8426">
                  <c:v>1001.4079999999992</c:v>
                </c:pt>
                <c:pt idx="8427">
                  <c:v>999.21699999999998</c:v>
                </c:pt>
                <c:pt idx="8428">
                  <c:v>997.6690000000001</c:v>
                </c:pt>
                <c:pt idx="8429">
                  <c:v>995.524</c:v>
                </c:pt>
                <c:pt idx="8430">
                  <c:v>990.21199999999999</c:v>
                </c:pt>
                <c:pt idx="8431">
                  <c:v>989.86599999999919</c:v>
                </c:pt>
                <c:pt idx="8432">
                  <c:v>989.52800000000013</c:v>
                </c:pt>
                <c:pt idx="8433">
                  <c:v>989.19200000000012</c:v>
                </c:pt>
                <c:pt idx="8434">
                  <c:v>989.07299979999948</c:v>
                </c:pt>
                <c:pt idx="8435">
                  <c:v>987.12899999999991</c:v>
                </c:pt>
                <c:pt idx="8436">
                  <c:v>986.84499999999946</c:v>
                </c:pt>
                <c:pt idx="8437">
                  <c:v>986.51100000000008</c:v>
                </c:pt>
                <c:pt idx="8438">
                  <c:v>986.26199999999949</c:v>
                </c:pt>
                <c:pt idx="8439">
                  <c:v>986.17100000000005</c:v>
                </c:pt>
                <c:pt idx="8440">
                  <c:v>984.41000000000008</c:v>
                </c:pt>
                <c:pt idx="8441">
                  <c:v>982.90099999999939</c:v>
                </c:pt>
                <c:pt idx="8442">
                  <c:v>982.75599999999997</c:v>
                </c:pt>
                <c:pt idx="8443">
                  <c:v>981.4860000000001</c:v>
                </c:pt>
                <c:pt idx="8444">
                  <c:v>977.45099999999934</c:v>
                </c:pt>
                <c:pt idx="8445">
                  <c:v>974.24700000000007</c:v>
                </c:pt>
                <c:pt idx="8446">
                  <c:v>974.00200000000007</c:v>
                </c:pt>
                <c:pt idx="8447">
                  <c:v>970.55699999999922</c:v>
                </c:pt>
                <c:pt idx="8448">
                  <c:v>970.17800000000068</c:v>
                </c:pt>
                <c:pt idx="8449">
                  <c:v>968.65800000000002</c:v>
                </c:pt>
                <c:pt idx="8450">
                  <c:v>967.84599999999921</c:v>
                </c:pt>
                <c:pt idx="8451">
                  <c:v>965.86799999999891</c:v>
                </c:pt>
                <c:pt idx="8452">
                  <c:v>965.8649999999991</c:v>
                </c:pt>
                <c:pt idx="8453">
                  <c:v>965.57400000000052</c:v>
                </c:pt>
                <c:pt idx="8454">
                  <c:v>963.80500000000006</c:v>
                </c:pt>
                <c:pt idx="8455">
                  <c:v>961.43</c:v>
                </c:pt>
                <c:pt idx="8456">
                  <c:v>960.49099999999999</c:v>
                </c:pt>
                <c:pt idx="8457">
                  <c:v>953.24899999999991</c:v>
                </c:pt>
                <c:pt idx="8458">
                  <c:v>952.41199999999947</c:v>
                </c:pt>
                <c:pt idx="8459">
                  <c:v>949.9669999999993</c:v>
                </c:pt>
                <c:pt idx="8460">
                  <c:v>949.74099999999999</c:v>
                </c:pt>
                <c:pt idx="8461">
                  <c:v>948.36599999999919</c:v>
                </c:pt>
                <c:pt idx="8462">
                  <c:v>945.91199999999947</c:v>
                </c:pt>
                <c:pt idx="8463">
                  <c:v>945.83299999999906</c:v>
                </c:pt>
                <c:pt idx="8464">
                  <c:v>944.72900000000004</c:v>
                </c:pt>
                <c:pt idx="8465">
                  <c:v>944.54500000000007</c:v>
                </c:pt>
                <c:pt idx="8466">
                  <c:v>943.52300000000002</c:v>
                </c:pt>
                <c:pt idx="8467">
                  <c:v>941.28400000000067</c:v>
                </c:pt>
                <c:pt idx="8468">
                  <c:v>939.90499999999997</c:v>
                </c:pt>
                <c:pt idx="8469">
                  <c:v>936.45599999999922</c:v>
                </c:pt>
                <c:pt idx="8470">
                  <c:v>930.79400000000055</c:v>
                </c:pt>
                <c:pt idx="8471">
                  <c:v>930.54300000000001</c:v>
                </c:pt>
                <c:pt idx="8472">
                  <c:v>928.0008888000001</c:v>
                </c:pt>
                <c:pt idx="8473">
                  <c:v>925.32799999999907</c:v>
                </c:pt>
                <c:pt idx="8474">
                  <c:v>924.77100000000053</c:v>
                </c:pt>
                <c:pt idx="8475">
                  <c:v>924.66899999999987</c:v>
                </c:pt>
                <c:pt idx="8476">
                  <c:v>920.34499999999946</c:v>
                </c:pt>
                <c:pt idx="8477">
                  <c:v>920.01299999999947</c:v>
                </c:pt>
                <c:pt idx="8478">
                  <c:v>918.08300000000054</c:v>
                </c:pt>
                <c:pt idx="8479">
                  <c:v>918.01</c:v>
                </c:pt>
                <c:pt idx="8480">
                  <c:v>916.76600000000008</c:v>
                </c:pt>
                <c:pt idx="8481">
                  <c:v>916.08</c:v>
                </c:pt>
                <c:pt idx="8482">
                  <c:v>914.46799999999905</c:v>
                </c:pt>
                <c:pt idx="8483">
                  <c:v>907.26200000000006</c:v>
                </c:pt>
                <c:pt idx="8484">
                  <c:v>906.81499999999949</c:v>
                </c:pt>
                <c:pt idx="8485">
                  <c:v>906.61599999999999</c:v>
                </c:pt>
                <c:pt idx="8486">
                  <c:v>906.1400000000001</c:v>
                </c:pt>
                <c:pt idx="8487">
                  <c:v>903.07</c:v>
                </c:pt>
                <c:pt idx="8488">
                  <c:v>902.11400000000003</c:v>
                </c:pt>
                <c:pt idx="8489">
                  <c:v>901.34399999999948</c:v>
                </c:pt>
                <c:pt idx="8490">
                  <c:v>901.26099999999997</c:v>
                </c:pt>
                <c:pt idx="8491">
                  <c:v>898.61899999999991</c:v>
                </c:pt>
                <c:pt idx="8492">
                  <c:v>895.06399999999996</c:v>
                </c:pt>
                <c:pt idx="8493">
                  <c:v>894.37400000000002</c:v>
                </c:pt>
                <c:pt idx="8494">
                  <c:v>893.10500000000002</c:v>
                </c:pt>
                <c:pt idx="8495">
                  <c:v>892.84399999999948</c:v>
                </c:pt>
                <c:pt idx="8496">
                  <c:v>890.66299999999922</c:v>
                </c:pt>
                <c:pt idx="8497">
                  <c:v>890.1730000000008</c:v>
                </c:pt>
                <c:pt idx="8498">
                  <c:v>889.96499999999946</c:v>
                </c:pt>
                <c:pt idx="8499">
                  <c:v>888.28100000000052</c:v>
                </c:pt>
                <c:pt idx="8500">
                  <c:v>888.05500000000006</c:v>
                </c:pt>
                <c:pt idx="8501">
                  <c:v>887.66899999999998</c:v>
                </c:pt>
                <c:pt idx="8502">
                  <c:v>886.84599999999921</c:v>
                </c:pt>
                <c:pt idx="8503">
                  <c:v>884.12699999999938</c:v>
                </c:pt>
                <c:pt idx="8504">
                  <c:v>875.84599999999921</c:v>
                </c:pt>
                <c:pt idx="8505">
                  <c:v>874.58499999999992</c:v>
                </c:pt>
                <c:pt idx="8506">
                  <c:v>873.23200000000008</c:v>
                </c:pt>
                <c:pt idx="8507">
                  <c:v>869.98</c:v>
                </c:pt>
                <c:pt idx="8508">
                  <c:v>868.63900000000012</c:v>
                </c:pt>
                <c:pt idx="8509">
                  <c:v>868.16199999999947</c:v>
                </c:pt>
                <c:pt idx="8510">
                  <c:v>868.01699999999948</c:v>
                </c:pt>
                <c:pt idx="8511">
                  <c:v>866.35099999999932</c:v>
                </c:pt>
                <c:pt idx="8512">
                  <c:v>865.34999999999945</c:v>
                </c:pt>
                <c:pt idx="8513">
                  <c:v>861.81499999999949</c:v>
                </c:pt>
                <c:pt idx="8514">
                  <c:v>861.70100000000002</c:v>
                </c:pt>
                <c:pt idx="8515">
                  <c:v>861.39300000000003</c:v>
                </c:pt>
                <c:pt idx="8516">
                  <c:v>860.87100000000009</c:v>
                </c:pt>
                <c:pt idx="8517">
                  <c:v>860.61</c:v>
                </c:pt>
                <c:pt idx="8518">
                  <c:v>859.58300000000054</c:v>
                </c:pt>
                <c:pt idx="8519">
                  <c:v>858.26099999999997</c:v>
                </c:pt>
                <c:pt idx="8520">
                  <c:v>857.04300000000001</c:v>
                </c:pt>
                <c:pt idx="8521">
                  <c:v>853.99299999999948</c:v>
                </c:pt>
                <c:pt idx="8522">
                  <c:v>847.76499999999999</c:v>
                </c:pt>
                <c:pt idx="8523">
                  <c:v>847.48699999999997</c:v>
                </c:pt>
                <c:pt idx="8524">
                  <c:v>847.12</c:v>
                </c:pt>
                <c:pt idx="8525">
                  <c:v>845.64699999999948</c:v>
                </c:pt>
                <c:pt idx="8526">
                  <c:v>845.548</c:v>
                </c:pt>
                <c:pt idx="8527">
                  <c:v>844.6099999999999</c:v>
                </c:pt>
                <c:pt idx="8528">
                  <c:v>844.37900000000002</c:v>
                </c:pt>
                <c:pt idx="8529">
                  <c:v>842.89100000000008</c:v>
                </c:pt>
                <c:pt idx="8530">
                  <c:v>841.5579999999992</c:v>
                </c:pt>
                <c:pt idx="8531">
                  <c:v>840.53699999999947</c:v>
                </c:pt>
                <c:pt idx="8532">
                  <c:v>840.18700000000013</c:v>
                </c:pt>
                <c:pt idx="8533">
                  <c:v>839.45900000000006</c:v>
                </c:pt>
                <c:pt idx="8534">
                  <c:v>838.45800000000008</c:v>
                </c:pt>
                <c:pt idx="8535">
                  <c:v>837.58900000000051</c:v>
                </c:pt>
                <c:pt idx="8536">
                  <c:v>836.54099999999949</c:v>
                </c:pt>
                <c:pt idx="8537">
                  <c:v>835.89699999999948</c:v>
                </c:pt>
                <c:pt idx="8538">
                  <c:v>835.51099999999997</c:v>
                </c:pt>
                <c:pt idx="8539">
                  <c:v>834.36899999999946</c:v>
                </c:pt>
                <c:pt idx="8540">
                  <c:v>831.44199999999921</c:v>
                </c:pt>
                <c:pt idx="8541">
                  <c:v>830.83400000000006</c:v>
                </c:pt>
                <c:pt idx="8542">
                  <c:v>829.93</c:v>
                </c:pt>
                <c:pt idx="8543">
                  <c:v>828.423</c:v>
                </c:pt>
                <c:pt idx="8544">
                  <c:v>827.58300000000054</c:v>
                </c:pt>
                <c:pt idx="8545">
                  <c:v>827.05099999999948</c:v>
                </c:pt>
                <c:pt idx="8546">
                  <c:v>824.29400000000055</c:v>
                </c:pt>
                <c:pt idx="8547">
                  <c:v>823.37</c:v>
                </c:pt>
                <c:pt idx="8548">
                  <c:v>822.26699999999948</c:v>
                </c:pt>
                <c:pt idx="8549">
                  <c:v>820.27500000000055</c:v>
                </c:pt>
                <c:pt idx="8550">
                  <c:v>820.09400000000005</c:v>
                </c:pt>
                <c:pt idx="8551">
                  <c:v>816.91599999999949</c:v>
                </c:pt>
                <c:pt idx="8552">
                  <c:v>816.02299999999946</c:v>
                </c:pt>
                <c:pt idx="8553">
                  <c:v>815.76699999999948</c:v>
                </c:pt>
                <c:pt idx="8554">
                  <c:v>815.63100000000009</c:v>
                </c:pt>
                <c:pt idx="8555">
                  <c:v>814.63499999999999</c:v>
                </c:pt>
                <c:pt idx="8556">
                  <c:v>814.46199999999908</c:v>
                </c:pt>
                <c:pt idx="8557">
                  <c:v>814.36899999999946</c:v>
                </c:pt>
                <c:pt idx="8558">
                  <c:v>813.60900000000004</c:v>
                </c:pt>
                <c:pt idx="8559">
                  <c:v>813.3319999999992</c:v>
                </c:pt>
                <c:pt idx="8560">
                  <c:v>809.90600000000006</c:v>
                </c:pt>
                <c:pt idx="8561">
                  <c:v>809.12299999999948</c:v>
                </c:pt>
                <c:pt idx="8562">
                  <c:v>804.28099999999995</c:v>
                </c:pt>
                <c:pt idx="8563">
                  <c:v>804.26599999999996</c:v>
                </c:pt>
                <c:pt idx="8564">
                  <c:v>800.47800000000052</c:v>
                </c:pt>
                <c:pt idx="8565">
                  <c:v>799.90500000000009</c:v>
                </c:pt>
                <c:pt idx="8566">
                  <c:v>799.51499999999999</c:v>
                </c:pt>
                <c:pt idx="8567">
                  <c:v>795.74799999999948</c:v>
                </c:pt>
                <c:pt idx="8568">
                  <c:v>793.86699999999905</c:v>
                </c:pt>
                <c:pt idx="8569">
                  <c:v>791.75600000000009</c:v>
                </c:pt>
                <c:pt idx="8570">
                  <c:v>789.61500000000012</c:v>
                </c:pt>
                <c:pt idx="8571">
                  <c:v>789.24399999999991</c:v>
                </c:pt>
                <c:pt idx="8572">
                  <c:v>786.3839999999999</c:v>
                </c:pt>
                <c:pt idx="8573">
                  <c:v>782.58699999999999</c:v>
                </c:pt>
                <c:pt idx="8574">
                  <c:v>781.84099999999933</c:v>
                </c:pt>
                <c:pt idx="8575">
                  <c:v>780.73900000000003</c:v>
                </c:pt>
                <c:pt idx="8576">
                  <c:v>779.76600000000008</c:v>
                </c:pt>
                <c:pt idx="8577">
                  <c:v>779.41699999999946</c:v>
                </c:pt>
                <c:pt idx="8578">
                  <c:v>779.39800000000002</c:v>
                </c:pt>
                <c:pt idx="8579">
                  <c:v>778.01</c:v>
                </c:pt>
                <c:pt idx="8580">
                  <c:v>777.31400000000008</c:v>
                </c:pt>
                <c:pt idx="8581">
                  <c:v>776.50900000000001</c:v>
                </c:pt>
                <c:pt idx="8582">
                  <c:v>776.48199999999997</c:v>
                </c:pt>
                <c:pt idx="8583">
                  <c:v>772.52800000000013</c:v>
                </c:pt>
                <c:pt idx="8584">
                  <c:v>768.50800000000004</c:v>
                </c:pt>
                <c:pt idx="8585">
                  <c:v>768.21799999999996</c:v>
                </c:pt>
                <c:pt idx="8586">
                  <c:v>766.69899999999984</c:v>
                </c:pt>
                <c:pt idx="8587">
                  <c:v>765.28400000000079</c:v>
                </c:pt>
                <c:pt idx="8588">
                  <c:v>764.50699999999949</c:v>
                </c:pt>
                <c:pt idx="8589">
                  <c:v>760.29200000000003</c:v>
                </c:pt>
                <c:pt idx="8590">
                  <c:v>757.87100000000009</c:v>
                </c:pt>
                <c:pt idx="8591">
                  <c:v>757.67700000000013</c:v>
                </c:pt>
                <c:pt idx="8592">
                  <c:v>756.56499999999949</c:v>
                </c:pt>
                <c:pt idx="8593">
                  <c:v>756.17499999999995</c:v>
                </c:pt>
                <c:pt idx="8594">
                  <c:v>755.93799999999919</c:v>
                </c:pt>
                <c:pt idx="8595">
                  <c:v>755.67299999999989</c:v>
                </c:pt>
                <c:pt idx="8596">
                  <c:v>755.55300000000011</c:v>
                </c:pt>
                <c:pt idx="8597">
                  <c:v>755.25499999999988</c:v>
                </c:pt>
                <c:pt idx="8598">
                  <c:v>754.94599999999946</c:v>
                </c:pt>
                <c:pt idx="8599">
                  <c:v>754.67800000000068</c:v>
                </c:pt>
                <c:pt idx="8600">
                  <c:v>747.25900000000001</c:v>
                </c:pt>
                <c:pt idx="8601">
                  <c:v>746.29600000000005</c:v>
                </c:pt>
                <c:pt idx="8602">
                  <c:v>742.3559999999992</c:v>
                </c:pt>
                <c:pt idx="8603">
                  <c:v>741.34899999999948</c:v>
                </c:pt>
                <c:pt idx="8604">
                  <c:v>740.42399999999998</c:v>
                </c:pt>
                <c:pt idx="8605">
                  <c:v>740.41699999999946</c:v>
                </c:pt>
                <c:pt idx="8606">
                  <c:v>739.35899999999947</c:v>
                </c:pt>
                <c:pt idx="8607">
                  <c:v>737.04699999999946</c:v>
                </c:pt>
                <c:pt idx="8608">
                  <c:v>730.18599999999992</c:v>
                </c:pt>
                <c:pt idx="8609">
                  <c:v>726.73399999999992</c:v>
                </c:pt>
                <c:pt idx="8610">
                  <c:v>726.28700000000015</c:v>
                </c:pt>
                <c:pt idx="8611">
                  <c:v>725.83799999999906</c:v>
                </c:pt>
                <c:pt idx="8612">
                  <c:v>725.18299999999999</c:v>
                </c:pt>
                <c:pt idx="8613">
                  <c:v>723.04899999999998</c:v>
                </c:pt>
                <c:pt idx="8614">
                  <c:v>718.55400000000009</c:v>
                </c:pt>
                <c:pt idx="8615">
                  <c:v>718.14199999999948</c:v>
                </c:pt>
                <c:pt idx="8616">
                  <c:v>717.04099999999949</c:v>
                </c:pt>
                <c:pt idx="8617">
                  <c:v>716.01600000000008</c:v>
                </c:pt>
                <c:pt idx="8618">
                  <c:v>715.3079999999992</c:v>
                </c:pt>
                <c:pt idx="8619">
                  <c:v>713.82799999999907</c:v>
                </c:pt>
                <c:pt idx="8620">
                  <c:v>711.15299999999922</c:v>
                </c:pt>
                <c:pt idx="8621">
                  <c:v>708.16899999999998</c:v>
                </c:pt>
                <c:pt idx="8622">
                  <c:v>699.10299999999938</c:v>
                </c:pt>
                <c:pt idx="8623">
                  <c:v>695.14100000000008</c:v>
                </c:pt>
                <c:pt idx="8624">
                  <c:v>693.60299999999938</c:v>
                </c:pt>
                <c:pt idx="8625">
                  <c:v>693.35199999999918</c:v>
                </c:pt>
                <c:pt idx="8626">
                  <c:v>693.18000000000052</c:v>
                </c:pt>
                <c:pt idx="8627">
                  <c:v>685.34999999999934</c:v>
                </c:pt>
                <c:pt idx="8628">
                  <c:v>678.75300000000004</c:v>
                </c:pt>
                <c:pt idx="8629">
                  <c:v>677.08900000000051</c:v>
                </c:pt>
                <c:pt idx="8630">
                  <c:v>674.82400000000007</c:v>
                </c:pt>
                <c:pt idx="8631">
                  <c:v>668.51800000000003</c:v>
                </c:pt>
                <c:pt idx="8632">
                  <c:v>667.93599999999947</c:v>
                </c:pt>
                <c:pt idx="8633">
                  <c:v>665.12400000000002</c:v>
                </c:pt>
                <c:pt idx="8634">
                  <c:v>662.06699999999921</c:v>
                </c:pt>
                <c:pt idx="8635">
                  <c:v>659.03</c:v>
                </c:pt>
                <c:pt idx="8636">
                  <c:v>656.43399999999997</c:v>
                </c:pt>
                <c:pt idx="8637">
                  <c:v>650.19099999999992</c:v>
                </c:pt>
                <c:pt idx="8638">
                  <c:v>649.8889999999999</c:v>
                </c:pt>
                <c:pt idx="8639">
                  <c:v>646.35899999999947</c:v>
                </c:pt>
                <c:pt idx="8640">
                  <c:v>645.80099999999948</c:v>
                </c:pt>
                <c:pt idx="8641">
                  <c:v>645.05500000000006</c:v>
                </c:pt>
                <c:pt idx="8642">
                  <c:v>643.45400000000006</c:v>
                </c:pt>
                <c:pt idx="8643">
                  <c:v>643.16899999999998</c:v>
                </c:pt>
                <c:pt idx="8644">
                  <c:v>642.75400000000002</c:v>
                </c:pt>
                <c:pt idx="8645">
                  <c:v>641.09700000000009</c:v>
                </c:pt>
                <c:pt idx="8646">
                  <c:v>639.11200000000008</c:v>
                </c:pt>
                <c:pt idx="8647">
                  <c:v>636.11500000000001</c:v>
                </c:pt>
                <c:pt idx="8648">
                  <c:v>635.29099999999994</c:v>
                </c:pt>
                <c:pt idx="8649">
                  <c:v>631.52300000000002</c:v>
                </c:pt>
                <c:pt idx="8650">
                  <c:v>628.09399999999994</c:v>
                </c:pt>
                <c:pt idx="8651">
                  <c:v>625.72500000000002</c:v>
                </c:pt>
                <c:pt idx="8652">
                  <c:v>622.7170000000001</c:v>
                </c:pt>
                <c:pt idx="8653">
                  <c:v>621.5429999999991</c:v>
                </c:pt>
                <c:pt idx="8654">
                  <c:v>620.65699999999947</c:v>
                </c:pt>
                <c:pt idx="8655">
                  <c:v>620.44099999999946</c:v>
                </c:pt>
                <c:pt idx="8656">
                  <c:v>619.61599999999999</c:v>
                </c:pt>
                <c:pt idx="8657">
                  <c:v>617.8079999999992</c:v>
                </c:pt>
                <c:pt idx="8658">
                  <c:v>614.53300000000002</c:v>
                </c:pt>
                <c:pt idx="8659">
                  <c:v>613.76200000000006</c:v>
                </c:pt>
                <c:pt idx="8660">
                  <c:v>608.90699999999947</c:v>
                </c:pt>
                <c:pt idx="8661">
                  <c:v>602.70600000000002</c:v>
                </c:pt>
                <c:pt idx="8662">
                  <c:v>602.33399999999949</c:v>
                </c:pt>
                <c:pt idx="8663">
                  <c:v>600.19400000000053</c:v>
                </c:pt>
                <c:pt idx="8664">
                  <c:v>598.08800000000053</c:v>
                </c:pt>
                <c:pt idx="8665">
                  <c:v>596.62099999999987</c:v>
                </c:pt>
                <c:pt idx="8666">
                  <c:v>585.92000000000007</c:v>
                </c:pt>
                <c:pt idx="8667">
                  <c:v>584.45299999999907</c:v>
                </c:pt>
                <c:pt idx="8668">
                  <c:v>583.88900000000001</c:v>
                </c:pt>
                <c:pt idx="8669">
                  <c:v>577.74399999999991</c:v>
                </c:pt>
                <c:pt idx="8670">
                  <c:v>571.50400000000013</c:v>
                </c:pt>
                <c:pt idx="8671">
                  <c:v>569.62</c:v>
                </c:pt>
                <c:pt idx="8672">
                  <c:v>569.46400000000006</c:v>
                </c:pt>
                <c:pt idx="8673">
                  <c:v>567.4860000000001</c:v>
                </c:pt>
                <c:pt idx="8674">
                  <c:v>565.75200000000007</c:v>
                </c:pt>
                <c:pt idx="8675">
                  <c:v>565.62699999999938</c:v>
                </c:pt>
                <c:pt idx="8676">
                  <c:v>564.77100000000053</c:v>
                </c:pt>
                <c:pt idx="8677">
                  <c:v>553.68000000000052</c:v>
                </c:pt>
                <c:pt idx="8678">
                  <c:v>551.07100000000003</c:v>
                </c:pt>
                <c:pt idx="8679">
                  <c:v>546.053</c:v>
                </c:pt>
                <c:pt idx="8680">
                  <c:v>545.28300000000081</c:v>
                </c:pt>
                <c:pt idx="8681">
                  <c:v>544.50700000000006</c:v>
                </c:pt>
                <c:pt idx="8682">
                  <c:v>543.52199999999948</c:v>
                </c:pt>
                <c:pt idx="8683">
                  <c:v>540.31999999999948</c:v>
                </c:pt>
                <c:pt idx="8684">
                  <c:v>539.67800000000068</c:v>
                </c:pt>
                <c:pt idx="8685">
                  <c:v>539.32999999999947</c:v>
                </c:pt>
                <c:pt idx="8686">
                  <c:v>535.54999999999939</c:v>
                </c:pt>
                <c:pt idx="8687">
                  <c:v>534.53100000000006</c:v>
                </c:pt>
                <c:pt idx="8688">
                  <c:v>532.8180000000001</c:v>
                </c:pt>
                <c:pt idx="8689">
                  <c:v>532.06900000000007</c:v>
                </c:pt>
                <c:pt idx="8690">
                  <c:v>528.03</c:v>
                </c:pt>
                <c:pt idx="8691">
                  <c:v>526.90199999999948</c:v>
                </c:pt>
                <c:pt idx="8692">
                  <c:v>526.68600000000004</c:v>
                </c:pt>
                <c:pt idx="8693">
                  <c:v>515.72699999999998</c:v>
                </c:pt>
                <c:pt idx="8694">
                  <c:v>514.95999999999947</c:v>
                </c:pt>
                <c:pt idx="8695">
                  <c:v>511.74100000000004</c:v>
                </c:pt>
                <c:pt idx="8696">
                  <c:v>508.87200000000001</c:v>
                </c:pt>
                <c:pt idx="8697">
                  <c:v>507.22799999999961</c:v>
                </c:pt>
                <c:pt idx="8698">
                  <c:v>506.86900000000031</c:v>
                </c:pt>
                <c:pt idx="8699">
                  <c:v>506.26699999999948</c:v>
                </c:pt>
                <c:pt idx="8700">
                  <c:v>499.75900000000001</c:v>
                </c:pt>
                <c:pt idx="8701">
                  <c:v>498.64600000000002</c:v>
                </c:pt>
                <c:pt idx="8702">
                  <c:v>486.32400000000001</c:v>
                </c:pt>
                <c:pt idx="8703">
                  <c:v>484.31</c:v>
                </c:pt>
                <c:pt idx="8704">
                  <c:v>481.01200000000006</c:v>
                </c:pt>
                <c:pt idx="8705">
                  <c:v>480.32799999999969</c:v>
                </c:pt>
                <c:pt idx="8706">
                  <c:v>478.54700000000008</c:v>
                </c:pt>
                <c:pt idx="8707">
                  <c:v>474.7979999999996</c:v>
                </c:pt>
                <c:pt idx="8708">
                  <c:v>474.47899999999947</c:v>
                </c:pt>
                <c:pt idx="8709">
                  <c:v>465.92200000000003</c:v>
                </c:pt>
                <c:pt idx="8710">
                  <c:v>463.35099999999994</c:v>
                </c:pt>
                <c:pt idx="8711">
                  <c:v>460.30099999999999</c:v>
                </c:pt>
                <c:pt idx="8712">
                  <c:v>458.75099999999969</c:v>
                </c:pt>
                <c:pt idx="8713">
                  <c:v>455.54899999999969</c:v>
                </c:pt>
                <c:pt idx="8714">
                  <c:v>454.98599999999954</c:v>
                </c:pt>
                <c:pt idx="8715">
                  <c:v>453.09799999999967</c:v>
                </c:pt>
                <c:pt idx="8716">
                  <c:v>441.04200000000031</c:v>
                </c:pt>
                <c:pt idx="8717">
                  <c:v>439.93599999999935</c:v>
                </c:pt>
                <c:pt idx="8718">
                  <c:v>432.00699999999955</c:v>
                </c:pt>
                <c:pt idx="8719">
                  <c:v>431.24300000000005</c:v>
                </c:pt>
                <c:pt idx="8720">
                  <c:v>423.47499999999968</c:v>
                </c:pt>
                <c:pt idx="8721">
                  <c:v>423.22099999999961</c:v>
                </c:pt>
                <c:pt idx="8722">
                  <c:v>422.452</c:v>
                </c:pt>
                <c:pt idx="8723">
                  <c:v>420.27199999999954</c:v>
                </c:pt>
                <c:pt idx="8724">
                  <c:v>407.44999999999993</c:v>
                </c:pt>
                <c:pt idx="8725">
                  <c:v>407.16800000000001</c:v>
                </c:pt>
                <c:pt idx="8726">
                  <c:v>397.66700000000031</c:v>
                </c:pt>
                <c:pt idx="8727">
                  <c:v>396.98699999999945</c:v>
                </c:pt>
                <c:pt idx="8728">
                  <c:v>389.21499999999969</c:v>
                </c:pt>
                <c:pt idx="8729">
                  <c:v>384.23499999999967</c:v>
                </c:pt>
                <c:pt idx="8730">
                  <c:v>383.16199999999969</c:v>
                </c:pt>
                <c:pt idx="8731">
                  <c:v>378.80799999999999</c:v>
                </c:pt>
                <c:pt idx="8732">
                  <c:v>375.24</c:v>
                </c:pt>
                <c:pt idx="8733">
                  <c:v>374.39599999999967</c:v>
                </c:pt>
                <c:pt idx="8734">
                  <c:v>373.065</c:v>
                </c:pt>
                <c:pt idx="8735">
                  <c:v>370.88399999999962</c:v>
                </c:pt>
                <c:pt idx="8736">
                  <c:v>359.95</c:v>
                </c:pt>
                <c:pt idx="8737">
                  <c:v>351.82900000000001</c:v>
                </c:pt>
                <c:pt idx="8738">
                  <c:v>348.84499999999997</c:v>
                </c:pt>
                <c:pt idx="8739">
                  <c:v>348.09799999999973</c:v>
                </c:pt>
                <c:pt idx="8740">
                  <c:v>339.11099999999999</c:v>
                </c:pt>
                <c:pt idx="8741">
                  <c:v>337.68600000000004</c:v>
                </c:pt>
                <c:pt idx="8742">
                  <c:v>337.22299999999967</c:v>
                </c:pt>
                <c:pt idx="8743">
                  <c:v>325.71899999999954</c:v>
                </c:pt>
                <c:pt idx="8744">
                  <c:v>324.91299999999961</c:v>
                </c:pt>
                <c:pt idx="8745">
                  <c:v>319.60699999999969</c:v>
                </c:pt>
                <c:pt idx="8746">
                  <c:v>312.16800000000001</c:v>
                </c:pt>
                <c:pt idx="8747">
                  <c:v>307.50100000000003</c:v>
                </c:pt>
                <c:pt idx="8748">
                  <c:v>293.392</c:v>
                </c:pt>
                <c:pt idx="8749">
                  <c:v>251.14299999999997</c:v>
                </c:pt>
                <c:pt idx="8750">
                  <c:v>228.26300000000001</c:v>
                </c:pt>
                <c:pt idx="8751">
                  <c:v>225.76399999999998</c:v>
                </c:pt>
                <c:pt idx="8752">
                  <c:v>224.54000000000002</c:v>
                </c:pt>
                <c:pt idx="8753">
                  <c:v>220.553</c:v>
                </c:pt>
                <c:pt idx="8754">
                  <c:v>209.49700000000001</c:v>
                </c:pt>
                <c:pt idx="8755">
                  <c:v>209.30500000000001</c:v>
                </c:pt>
                <c:pt idx="8756">
                  <c:v>199.65100000000001</c:v>
                </c:pt>
                <c:pt idx="8757">
                  <c:v>190.85400000000001</c:v>
                </c:pt>
                <c:pt idx="8758">
                  <c:v>177.64100000000002</c:v>
                </c:pt>
                <c:pt idx="8759">
                  <c:v>176.736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DA-445D-9DF7-DCC38C93DE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222528"/>
        <c:axId val="277212160"/>
      </c:lineChart>
      <c:valAx>
        <c:axId val="277204352"/>
        <c:scaling>
          <c:orientation val="minMax"/>
          <c:min val="-120"/>
        </c:scaling>
        <c:delete val="0"/>
        <c:axPos val="r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277210624"/>
        <c:crosses val="max"/>
        <c:crossBetween val="between"/>
        <c:majorUnit val="30"/>
      </c:valAx>
      <c:catAx>
        <c:axId val="27721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77204352"/>
        <c:crosses val="autoZero"/>
        <c:auto val="1"/>
        <c:lblAlgn val="ctr"/>
        <c:lblOffset val="100"/>
        <c:noMultiLvlLbl val="0"/>
      </c:catAx>
      <c:valAx>
        <c:axId val="277212160"/>
        <c:scaling>
          <c:orientation val="minMax"/>
          <c:max val="40000"/>
          <c:min val="-40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277222528"/>
        <c:crosses val="autoZero"/>
        <c:crossBetween val="between"/>
      </c:valAx>
      <c:catAx>
        <c:axId val="2772225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77212160"/>
        <c:crosses val="autoZero"/>
        <c:auto val="1"/>
        <c:lblAlgn val="ctr"/>
        <c:lblOffset val="100"/>
        <c:noMultiLvlLbl val="0"/>
      </c:catAx>
    </c:plotArea>
    <c:legend>
      <c:legendPos val="b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3</c:f>
              <c:strCache>
                <c:ptCount val="1"/>
                <c:pt idx="0">
                  <c:v>€/M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B$1:$K$2</c:f>
              <c:strCache>
                <c:ptCount val="10"/>
                <c:pt idx="0">
                  <c:v>CCGT</c:v>
                </c:pt>
                <c:pt idx="1">
                  <c:v>Nuclear</c:v>
                </c:pt>
                <c:pt idx="2">
                  <c:v>Onshore wind</c:v>
                </c:pt>
                <c:pt idx="3">
                  <c:v>Offshore wind</c:v>
                </c:pt>
                <c:pt idx="4">
                  <c:v>PV (Ground-mtd)</c:v>
                </c:pt>
                <c:pt idx="6">
                  <c:v>Wholesale price</c:v>
                </c:pt>
                <c:pt idx="8">
                  <c:v>Small </c:v>
                </c:pt>
                <c:pt idx="9">
                  <c:v>V. large </c:v>
                </c:pt>
              </c:strCache>
            </c:strRef>
          </c:cat>
          <c:val>
            <c:numRef>
              <c:f>Tabelle1!$B$3:$K$3</c:f>
              <c:numCache>
                <c:formatCode>General</c:formatCode>
                <c:ptCount val="10"/>
                <c:pt idx="0">
                  <c:v>62</c:v>
                </c:pt>
                <c:pt idx="1">
                  <c:v>50</c:v>
                </c:pt>
                <c:pt idx="2">
                  <c:v>50</c:v>
                </c:pt>
                <c:pt idx="3">
                  <c:v>85</c:v>
                </c:pt>
                <c:pt idx="4">
                  <c:v>75</c:v>
                </c:pt>
                <c:pt idx="6">
                  <c:v>25</c:v>
                </c:pt>
                <c:pt idx="8">
                  <c:v>140</c:v>
                </c:pt>
                <c:pt idx="9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8E-4691-B6D6-07DF4F12A765}"/>
            </c:ext>
          </c:extLst>
        </c:ser>
        <c:ser>
          <c:idx val="1"/>
          <c:order val="1"/>
          <c:tx>
            <c:strRef>
              <c:f>Tabelle1!$A$4</c:f>
              <c:strCache>
                <c:ptCount val="1"/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K$2</c:f>
              <c:strCache>
                <c:ptCount val="10"/>
                <c:pt idx="0">
                  <c:v>CCGT</c:v>
                </c:pt>
                <c:pt idx="1">
                  <c:v>Nuclear</c:v>
                </c:pt>
                <c:pt idx="2">
                  <c:v>Onshore wind</c:v>
                </c:pt>
                <c:pt idx="3">
                  <c:v>Offshore wind</c:v>
                </c:pt>
                <c:pt idx="4">
                  <c:v>PV (Ground-mtd)</c:v>
                </c:pt>
                <c:pt idx="6">
                  <c:v>Wholesale price</c:v>
                </c:pt>
                <c:pt idx="8">
                  <c:v>Small </c:v>
                </c:pt>
                <c:pt idx="9">
                  <c:v>V. large </c:v>
                </c:pt>
              </c:strCache>
            </c:strRef>
          </c:cat>
          <c:val>
            <c:numRef>
              <c:f>Tabelle1!$B$4:$K$4</c:f>
              <c:numCache>
                <c:formatCode>General</c:formatCode>
                <c:ptCount val="10"/>
                <c:pt idx="1">
                  <c:v>60</c:v>
                </c:pt>
                <c:pt idx="2">
                  <c:v>30</c:v>
                </c:pt>
                <c:pt idx="3">
                  <c:v>35</c:v>
                </c:pt>
                <c:pt idx="4">
                  <c:v>10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8E-4691-B6D6-07DF4F12A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521616232"/>
        <c:axId val="521615248"/>
      </c:barChart>
      <c:catAx>
        <c:axId val="521616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21615248"/>
        <c:crosses val="autoZero"/>
        <c:auto val="1"/>
        <c:lblAlgn val="ctr"/>
        <c:lblOffset val="100"/>
        <c:noMultiLvlLbl val="0"/>
      </c:catAx>
      <c:valAx>
        <c:axId val="521615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€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21616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dirty="0"/>
              <a:t>Annual Costs for Renewables in Germany € bn.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Diagramm 2 in Microsoft PowerPoint]Sheet1'!$A$4</c:f>
              <c:strCache>
                <c:ptCount val="1"/>
                <c:pt idx="0">
                  <c:v>Bioma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4:$V$4</c:f>
              <c:numCache>
                <c:formatCode>0</c:formatCode>
                <c:ptCount val="10"/>
                <c:pt idx="0">
                  <c:v>4.4761699999999998</c:v>
                </c:pt>
                <c:pt idx="1">
                  <c:v>5.8419999999999996</c:v>
                </c:pt>
                <c:pt idx="2">
                  <c:v>6.15837688491</c:v>
                </c:pt>
                <c:pt idx="3">
                  <c:v>6.3780000000000001</c:v>
                </c:pt>
                <c:pt idx="4">
                  <c:v>6.194703648</c:v>
                </c:pt>
                <c:pt idx="5">
                  <c:v>6.6733831170000002</c:v>
                </c:pt>
                <c:pt idx="6">
                  <c:v>6.649</c:v>
                </c:pt>
                <c:pt idx="7" formatCode="General">
                  <c:v>6.7030000000000003</c:v>
                </c:pt>
                <c:pt idx="8" formatCode="#,##0">
                  <c:v>6.7389999999999999</c:v>
                </c:pt>
                <c:pt idx="9" formatCode="#,##0">
                  <c:v>6.791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AB-4045-BC64-12713B8AEECB}"/>
            </c:ext>
          </c:extLst>
        </c:ser>
        <c:ser>
          <c:idx val="1"/>
          <c:order val="1"/>
          <c:tx>
            <c:strRef>
              <c:f>'[Diagramm 2 in Microsoft PowerPoint]Sheet1'!$A$5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5:$V$5</c:f>
              <c:numCache>
                <c:formatCode>0</c:formatCode>
                <c:ptCount val="10"/>
                <c:pt idx="0">
                  <c:v>0.23107</c:v>
                </c:pt>
                <c:pt idx="1">
                  <c:v>0.34749999999999998</c:v>
                </c:pt>
                <c:pt idx="2">
                  <c:v>0.42023226122000007</c:v>
                </c:pt>
                <c:pt idx="3">
                  <c:v>0.40100000000000002</c:v>
                </c:pt>
                <c:pt idx="4">
                  <c:v>0.43567807199999997</c:v>
                </c:pt>
                <c:pt idx="5">
                  <c:v>0.47113219000000001</c:v>
                </c:pt>
                <c:pt idx="6">
                  <c:v>0.48</c:v>
                </c:pt>
                <c:pt idx="7" formatCode="General">
                  <c:v>0.497</c:v>
                </c:pt>
                <c:pt idx="8" formatCode="#,##0">
                  <c:v>0.51100000000000001</c:v>
                </c:pt>
                <c:pt idx="9" formatCode="#,##0">
                  <c:v>0.52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AB-4045-BC64-12713B8AEECB}"/>
            </c:ext>
          </c:extLst>
        </c:ser>
        <c:ser>
          <c:idx val="2"/>
          <c:order val="2"/>
          <c:tx>
            <c:strRef>
              <c:f>'[Diagramm 2 in Microsoft PowerPoint]Sheet1'!$A$6</c:f>
              <c:strCache>
                <c:ptCount val="1"/>
                <c:pt idx="0">
                  <c:v>Biog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6:$V$6</c:f>
              <c:numCache>
                <c:formatCode>0</c:formatCode>
                <c:ptCount val="10"/>
                <c:pt idx="0">
                  <c:v>3.5880000000000002E-2</c:v>
                </c:pt>
                <c:pt idx="1">
                  <c:v>4.6399999999999997E-2</c:v>
                </c:pt>
                <c:pt idx="2">
                  <c:v>4.8166914349999999E-2</c:v>
                </c:pt>
                <c:pt idx="3">
                  <c:v>8.2599999999999993E-2</c:v>
                </c:pt>
                <c:pt idx="4">
                  <c:v>8.5635665999999999E-2</c:v>
                </c:pt>
                <c:pt idx="5">
                  <c:v>8.5728792999999998E-2</c:v>
                </c:pt>
                <c:pt idx="6">
                  <c:v>8.3000000000000004E-2</c:v>
                </c:pt>
                <c:pt idx="7" formatCode="General">
                  <c:v>8.3000000000000004E-2</c:v>
                </c:pt>
                <c:pt idx="8" formatCode="#,##0">
                  <c:v>8.2000000000000003E-2</c:v>
                </c:pt>
                <c:pt idx="9" formatCode="#,##0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AB-4045-BC64-12713B8AEECB}"/>
            </c:ext>
          </c:extLst>
        </c:ser>
        <c:ser>
          <c:idx val="3"/>
          <c:order val="3"/>
          <c:tx>
            <c:strRef>
              <c:f>'[Diagramm 2 in Microsoft PowerPoint]Sheet1'!$A$7</c:f>
              <c:strCache>
                <c:ptCount val="1"/>
                <c:pt idx="0">
                  <c:v>Geothermie GW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7:$V$7</c:f>
            </c:numRef>
          </c:val>
          <c:extLst>
            <c:ext xmlns:c16="http://schemas.microsoft.com/office/drawing/2014/chart" uri="{C3380CC4-5D6E-409C-BE32-E72D297353CC}">
              <c16:uniqueId val="{00000003-C4AB-4045-BC64-12713B8AEECB}"/>
            </c:ext>
          </c:extLst>
        </c:ser>
        <c:ser>
          <c:idx val="4"/>
          <c:order val="4"/>
          <c:tx>
            <c:strRef>
              <c:f>'[Diagramm 2 in Microsoft PowerPoint]Sheet1'!$A$8</c:f>
              <c:strCache>
                <c:ptCount val="1"/>
                <c:pt idx="0">
                  <c:v>Wind onsho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8:$V$8</c:f>
              <c:numCache>
                <c:formatCode>0</c:formatCode>
                <c:ptCount val="10"/>
                <c:pt idx="0">
                  <c:v>4.1646999999999998</c:v>
                </c:pt>
                <c:pt idx="1">
                  <c:v>3.625</c:v>
                </c:pt>
                <c:pt idx="2">
                  <c:v>3.5232287977800003</c:v>
                </c:pt>
                <c:pt idx="3">
                  <c:v>4.0460000000000003</c:v>
                </c:pt>
                <c:pt idx="4">
                  <c:v>4.6390767420000003</c:v>
                </c:pt>
                <c:pt idx="5">
                  <c:v>5.3371120790000006</c:v>
                </c:pt>
                <c:pt idx="6">
                  <c:v>5.7160000000000002</c:v>
                </c:pt>
                <c:pt idx="7" formatCode="General">
                  <c:v>6.2469999999999999</c:v>
                </c:pt>
                <c:pt idx="8" formatCode="#,##0">
                  <c:v>6.7489999999999997</c:v>
                </c:pt>
                <c:pt idx="9" formatCode="#,##0">
                  <c:v>7.184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4AB-4045-BC64-12713B8AEECB}"/>
            </c:ext>
          </c:extLst>
        </c:ser>
        <c:ser>
          <c:idx val="5"/>
          <c:order val="5"/>
          <c:tx>
            <c:strRef>
              <c:f>'[Diagramm 2 in Microsoft PowerPoint]Sheet1'!$A$9</c:f>
              <c:strCache>
                <c:ptCount val="1"/>
                <c:pt idx="0">
                  <c:v>Wind offshor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9:$V$9</c:f>
              <c:numCache>
                <c:formatCode>0</c:formatCode>
                <c:ptCount val="10"/>
                <c:pt idx="0">
                  <c:v>8.5220000000000004E-2</c:v>
                </c:pt>
                <c:pt idx="1">
                  <c:v>9.5200000000000007E-2</c:v>
                </c:pt>
                <c:pt idx="2">
                  <c:v>0.12260285813999999</c:v>
                </c:pt>
                <c:pt idx="3">
                  <c:v>0.21299999999999999</c:v>
                </c:pt>
                <c:pt idx="4">
                  <c:v>1.7169299329999999</c:v>
                </c:pt>
                <c:pt idx="5">
                  <c:v>2.4131888479999999</c:v>
                </c:pt>
                <c:pt idx="6">
                  <c:v>2.9580000000000002</c:v>
                </c:pt>
                <c:pt idx="7" formatCode="General">
                  <c:v>3.4969999999999999</c:v>
                </c:pt>
                <c:pt idx="8" formatCode="#,##0">
                  <c:v>3.9390000000000001</c:v>
                </c:pt>
                <c:pt idx="9" formatCode="#,##0">
                  <c:v>4.253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AB-4045-BC64-12713B8AEECB}"/>
            </c:ext>
          </c:extLst>
        </c:ser>
        <c:ser>
          <c:idx val="6"/>
          <c:order val="6"/>
          <c:tx>
            <c:strRef>
              <c:f>'[Diagramm 2 in Microsoft PowerPoint]Sheet1'!$A$10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Diagramm 2 in Microsoft PowerPoint]Sheet1'!$B$3:$V$3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[Diagramm 2 in Microsoft PowerPoint]Sheet1'!$B$10:$V$10</c:f>
              <c:numCache>
                <c:formatCode>0</c:formatCode>
                <c:ptCount val="10"/>
                <c:pt idx="0">
                  <c:v>7.76607</c:v>
                </c:pt>
                <c:pt idx="1">
                  <c:v>9.1560000000000006</c:v>
                </c:pt>
                <c:pt idx="2">
                  <c:v>9.4569884177599999</c:v>
                </c:pt>
                <c:pt idx="3">
                  <c:v>10.2302</c:v>
                </c:pt>
                <c:pt idx="4">
                  <c:v>10.604792460000001</c:v>
                </c:pt>
                <c:pt idx="5">
                  <c:v>10.520289349999999</c:v>
                </c:pt>
                <c:pt idx="6">
                  <c:v>10.506</c:v>
                </c:pt>
                <c:pt idx="7" formatCode="General">
                  <c:v>10.585000000000001</c:v>
                </c:pt>
                <c:pt idx="8" formatCode="#,##0">
                  <c:v>10.648</c:v>
                </c:pt>
                <c:pt idx="9" formatCode="#,##0">
                  <c:v>10.733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4AB-4045-BC64-12713B8AEE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56698856"/>
        <c:axId val="256696232"/>
      </c:barChart>
      <c:catAx>
        <c:axId val="256698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56696232"/>
        <c:crosses val="autoZero"/>
        <c:auto val="1"/>
        <c:lblAlgn val="ctr"/>
        <c:lblOffset val="100"/>
        <c:noMultiLvlLbl val="0"/>
      </c:catAx>
      <c:valAx>
        <c:axId val="256696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56698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 b="1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dirty="0"/>
              <a:t>Energy Costs (before adjusting for efficiency in us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8</c:f>
              <c:strCache>
                <c:ptCount val="1"/>
                <c:pt idx="0">
                  <c:v>€/M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5CC-435E-B2D7-6A85B4E431C9}"/>
              </c:ext>
            </c:extLst>
          </c:dPt>
          <c:dPt>
            <c:idx val="1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CC-435E-B2D7-6A85B4E431C9}"/>
              </c:ext>
            </c:extLst>
          </c:dPt>
          <c:cat>
            <c:strRef>
              <c:f>Tabelle1!$B$7:$G$7</c:f>
              <c:strCache>
                <c:ptCount val="6"/>
                <c:pt idx="0">
                  <c:v>Gas</c:v>
                </c:pt>
                <c:pt idx="1">
                  <c:v>Gas + € 100 CO2</c:v>
                </c:pt>
                <c:pt idx="2">
                  <c:v>Nuclear</c:v>
                </c:pt>
                <c:pt idx="3">
                  <c:v>Onshore wind</c:v>
                </c:pt>
                <c:pt idx="4">
                  <c:v>Offshore wind</c:v>
                </c:pt>
                <c:pt idx="5">
                  <c:v>PV (Ground-mtd)</c:v>
                </c:pt>
              </c:strCache>
            </c:strRef>
          </c:cat>
          <c:val>
            <c:numRef>
              <c:f>Tabelle1!$B$8:$G$8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50</c:v>
                </c:pt>
                <c:pt idx="4">
                  <c:v>85</c:v>
                </c:pt>
                <c:pt idx="5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28-4C33-BC25-77662A41ABB1}"/>
            </c:ext>
          </c:extLst>
        </c:ser>
        <c:ser>
          <c:idx val="1"/>
          <c:order val="1"/>
          <c:tx>
            <c:strRef>
              <c:f>Tabelle1!$A$9</c:f>
              <c:strCache>
                <c:ptCount val="1"/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7:$G$7</c:f>
              <c:strCache>
                <c:ptCount val="6"/>
                <c:pt idx="0">
                  <c:v>Gas</c:v>
                </c:pt>
                <c:pt idx="1">
                  <c:v>Gas + € 100 CO2</c:v>
                </c:pt>
                <c:pt idx="2">
                  <c:v>Nuclear</c:v>
                </c:pt>
                <c:pt idx="3">
                  <c:v>Onshore wind</c:v>
                </c:pt>
                <c:pt idx="4">
                  <c:v>Offshore wind</c:v>
                </c:pt>
                <c:pt idx="5">
                  <c:v>PV (Ground-mtd)</c:v>
                </c:pt>
              </c:strCache>
            </c:strRef>
          </c:cat>
          <c:val>
            <c:numRef>
              <c:f>Tabelle1!$B$9:$G$9</c:f>
              <c:numCache>
                <c:formatCode>General</c:formatCode>
                <c:ptCount val="6"/>
                <c:pt idx="2">
                  <c:v>60</c:v>
                </c:pt>
                <c:pt idx="3">
                  <c:v>30</c:v>
                </c:pt>
                <c:pt idx="4">
                  <c:v>35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28-4C33-BC25-77662A41AB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94006736"/>
        <c:axId val="304680880"/>
      </c:barChart>
      <c:catAx>
        <c:axId val="394006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4680880"/>
        <c:crosses val="autoZero"/>
        <c:auto val="1"/>
        <c:lblAlgn val="ctr"/>
        <c:lblOffset val="100"/>
        <c:noMultiLvlLbl val="0"/>
      </c:catAx>
      <c:valAx>
        <c:axId val="304680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€ / 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94006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 b="1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68E14-C6F7-45E0-8212-ED9F8944C6D9}" type="datetimeFigureOut">
              <a:rPr lang="en-GB" smtClean="0"/>
              <a:t>28/09/201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89066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6866" y="9428165"/>
            <a:ext cx="289066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A3CC01-7411-43C7-BA1F-9D26B923F28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962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6866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9E47FC-C26F-4241-92C4-31821409AF58}" type="datetimeFigureOut">
              <a:rPr lang="en-GB" smtClean="0"/>
              <a:t>28/09/201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599" y="4714877"/>
            <a:ext cx="5335893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165"/>
            <a:ext cx="289066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6866" y="9428165"/>
            <a:ext cx="289066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0485AE-40EF-4F4F-8AED-74EFE10D02D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35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4C7795-2B57-4795-BCCF-E1F0A883D9C9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06923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18.02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eite </a:t>
            </a:r>
            <a:fld id="{A7B0E584-BE88-4E77-A877-883B1F5EA48F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420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485AE-40EF-4F4F-8AED-74EFE10D02D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361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0195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8707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062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(blu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5200" y="892800"/>
            <a:ext cx="7804588" cy="1730449"/>
          </a:xfrm>
        </p:spPr>
        <p:txBody>
          <a:bodyPr tIns="0"/>
          <a:lstStyle>
            <a:lvl1pPr>
              <a:defRPr sz="3200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5200" y="2780928"/>
            <a:ext cx="7804588" cy="1656184"/>
          </a:xfrm>
        </p:spPr>
        <p:txBody>
          <a:bodyPr/>
          <a:lstStyle>
            <a:lvl1pPr marL="0" indent="0">
              <a:spcAft>
                <a:spcPct val="0"/>
              </a:spcAft>
              <a:buFont typeface="Arial" pitchFamily="23" charset="0"/>
              <a:buNone/>
              <a:tabLst/>
              <a:defRPr sz="2800"/>
            </a:lvl1pPr>
          </a:lstStyle>
          <a:p>
            <a:r>
              <a:rPr lang="de-DE" noProof="0"/>
              <a:t>Formatvorlage des Untertitelmasters durch Klicken bearbeiten</a:t>
            </a:r>
            <a:endParaRPr lang="en-GB" noProof="0"/>
          </a:p>
        </p:txBody>
      </p:sp>
      <p:sp>
        <p:nvSpPr>
          <p:cNvPr id="4" name="Datumsplatzhalter 1"/>
          <p:cNvSpPr>
            <a:spLocks noGrp="1"/>
          </p:cNvSpPr>
          <p:nvPr>
            <p:ph type="dt" sz="half" idx="10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1731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(whit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5200" y="892800"/>
            <a:ext cx="7804588" cy="1730449"/>
          </a:xfrm>
        </p:spPr>
        <p:txBody>
          <a:bodyPr tIns="0"/>
          <a:lstStyle>
            <a:lvl1pPr>
              <a:defRPr sz="3200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5200" y="2780928"/>
            <a:ext cx="7804588" cy="1223963"/>
          </a:xfrm>
        </p:spPr>
        <p:txBody>
          <a:bodyPr/>
          <a:lstStyle>
            <a:lvl1pPr marL="0" indent="0">
              <a:spcAft>
                <a:spcPct val="0"/>
              </a:spcAft>
              <a:buFont typeface="Arial" pitchFamily="23" charset="0"/>
              <a:buNone/>
              <a:tabLst/>
              <a:defRPr sz="2800"/>
            </a:lvl1pPr>
          </a:lstStyle>
          <a:p>
            <a:r>
              <a:rPr lang="de-DE" noProof="0"/>
              <a:t>Formatvorlage des Untertitelmasters durch Klicken bearbeiten</a:t>
            </a:r>
            <a:endParaRPr lang="en-GB" noProof="0"/>
          </a:p>
        </p:txBody>
      </p:sp>
      <p:sp>
        <p:nvSpPr>
          <p:cNvPr id="4" name="Datumsplatzhalter 1"/>
          <p:cNvSpPr>
            <a:spLocks noGrp="1"/>
          </p:cNvSpPr>
          <p:nvPr>
            <p:ph type="dt" sz="half" idx="10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183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-27384"/>
            <a:ext cx="9144000" cy="1341438"/>
          </a:xfrm>
          <a:prstGeom prst="rect">
            <a:avLst/>
          </a:prstGeom>
          <a:solidFill>
            <a:srgbClr val="8DCEED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 marL="266700" indent="-266700" algn="ctr" fontAlgn="base">
              <a:spcBef>
                <a:spcPct val="0"/>
              </a:spcBef>
              <a:spcAft>
                <a:spcPct val="100000"/>
              </a:spcAft>
              <a:buClr>
                <a:srgbClr val="0066AA"/>
              </a:buClr>
              <a:buFont typeface="Arial" pitchFamily="34" charset="0"/>
              <a:buChar char="&gt;"/>
              <a:defRPr/>
            </a:pPr>
            <a:endParaRPr lang="de-DE" kern="0">
              <a:solidFill>
                <a:sysClr val="windowText" lastClr="000000"/>
              </a:solidFill>
              <a:ea typeface="ＭＳ Ｐゴシック" pitchFamily="34" charset="-128"/>
            </a:endParaRPr>
          </a:p>
        </p:txBody>
      </p:sp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4050" y="132110"/>
            <a:ext cx="7805738" cy="1079500"/>
          </a:xfrm>
        </p:spPr>
        <p:txBody>
          <a:bodyPr anchor="ctr"/>
          <a:lstStyle>
            <a:lvl1pPr>
              <a:defRPr sz="2600" b="1"/>
            </a:lvl1pPr>
          </a:lstStyle>
          <a:p>
            <a:r>
              <a:rPr lang="de-DE" noProof="0" dirty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1542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4213" y="1700213"/>
            <a:ext cx="3743325" cy="439261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6" name="Inhaltsplatzhalter 2"/>
          <p:cNvSpPr>
            <a:spLocks noGrp="1"/>
          </p:cNvSpPr>
          <p:nvPr>
            <p:ph idx="11"/>
          </p:nvPr>
        </p:nvSpPr>
        <p:spPr>
          <a:xfrm>
            <a:off x="4716463" y="1700213"/>
            <a:ext cx="3743325" cy="439261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985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(big, 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052513"/>
            <a:ext cx="7775575" cy="504031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200" y="477838"/>
            <a:ext cx="7804588" cy="574675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316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(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773238"/>
            <a:ext cx="777557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3763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(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773238"/>
            <a:ext cx="374332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716462" y="1773238"/>
            <a:ext cx="374332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13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3234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ttitu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W:\Projekte\JvM\RWE\2012-12-15_Office 2010-Migration\Grafiken 2_neuer Verlauf\PPT_2012-02-01_Konzernhaltung_en_blau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8"/>
          <p:cNvSpPr>
            <a:spLocks noChangeArrowheads="1"/>
          </p:cNvSpPr>
          <p:nvPr userDrawn="1"/>
        </p:nvSpPr>
        <p:spPr bwMode="gray">
          <a:xfrm>
            <a:off x="2844800" y="6381750"/>
            <a:ext cx="453548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800" b="1" noProof="1">
                <a:solidFill>
                  <a:prstClr val="black"/>
                </a:solidFill>
                <a:ea typeface="ＭＳ Ｐゴシック" pitchFamily="34" charset="-128"/>
              </a:rPr>
              <a:t>RWE AG</a:t>
            </a:r>
            <a:endParaRPr lang="en-GB" sz="800" noProof="1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gray">
          <a:xfrm>
            <a:off x="8459788" y="6381750"/>
            <a:ext cx="5762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prstClr val="black"/>
                </a:solidFill>
                <a:ea typeface="ＭＳ Ｐゴシック" pitchFamily="34" charset="-128"/>
              </a:rPr>
              <a:t>PAGE </a:t>
            </a:r>
            <a:fld id="{22A52C08-AF4E-4786-ADE4-6F9F6CBC0FE4}" type="slidenum">
              <a:rPr lang="en-GB" sz="800">
                <a:solidFill>
                  <a:prstClr val="black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GB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 Prof. Graham Weale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098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/>
            </a:lvl1pPr>
            <a:lvl2pPr>
              <a:spcBef>
                <a:spcPts val="0"/>
              </a:spcBef>
              <a:spcAft>
                <a:spcPts val="1200"/>
              </a:spcAft>
              <a:defRPr sz="2000"/>
            </a:lvl2pPr>
            <a:lvl3pPr>
              <a:spcBef>
                <a:spcPts val="0"/>
              </a:spcBef>
              <a:spcAft>
                <a:spcPts val="1200"/>
              </a:spcAft>
              <a:defRPr sz="2000"/>
            </a:lvl3pPr>
            <a:lvl4pPr>
              <a:spcBef>
                <a:spcPts val="0"/>
              </a:spcBef>
              <a:spcAft>
                <a:spcPts val="1200"/>
              </a:spcAft>
              <a:defRPr sz="2000"/>
            </a:lvl4pPr>
            <a:lvl5pPr>
              <a:spcBef>
                <a:spcPts val="0"/>
              </a:spcBef>
              <a:spcAft>
                <a:spcPts val="1200"/>
              </a:spcAft>
              <a:defRPr sz="2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775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6527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85799" y="1341438"/>
            <a:ext cx="8207375" cy="1150937"/>
          </a:xfrm>
        </p:spPr>
        <p:txBody>
          <a:bodyPr tIns="0" anchor="b" anchorCtr="0"/>
          <a:lstStyle>
            <a:lvl1pPr>
              <a:defRPr sz="3600"/>
            </a:lvl1pPr>
          </a:lstStyle>
          <a:p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Click to edit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84213" y="2636838"/>
            <a:ext cx="8208962" cy="115252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spcBef>
                <a:spcPts val="3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GB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684213" y="3985827"/>
            <a:ext cx="8208962" cy="5048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Location, 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907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Click to edit Master title style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28279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Click to edit Master title style 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GB" noProof="0" dirty="0"/>
              <a:t>Edit Master text format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619548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85102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(blu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5200" y="892800"/>
            <a:ext cx="7804588" cy="1730449"/>
          </a:xfrm>
        </p:spPr>
        <p:txBody>
          <a:bodyPr tIns="0"/>
          <a:lstStyle>
            <a:lvl1pPr>
              <a:defRPr sz="3200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5200" y="2780928"/>
            <a:ext cx="7804588" cy="1656184"/>
          </a:xfrm>
        </p:spPr>
        <p:txBody>
          <a:bodyPr/>
          <a:lstStyle>
            <a:lvl1pPr marL="0" indent="0">
              <a:spcAft>
                <a:spcPct val="0"/>
              </a:spcAft>
              <a:buFont typeface="Arial" pitchFamily="23" charset="0"/>
              <a:buNone/>
              <a:tabLst/>
              <a:defRPr sz="2800"/>
            </a:lvl1pPr>
          </a:lstStyle>
          <a:p>
            <a:r>
              <a:rPr lang="de-DE" noProof="0"/>
              <a:t>Formatvorlage des Untertitelmasters durch Klicken bearbeiten</a:t>
            </a:r>
            <a:endParaRPr lang="en-GB" noProof="0"/>
          </a:p>
        </p:txBody>
      </p:sp>
      <p:sp>
        <p:nvSpPr>
          <p:cNvPr id="4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11967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(whit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5200" y="892800"/>
            <a:ext cx="7804588" cy="1730449"/>
          </a:xfrm>
        </p:spPr>
        <p:txBody>
          <a:bodyPr tIns="0"/>
          <a:lstStyle>
            <a:lvl1pPr>
              <a:defRPr sz="3200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5200" y="2780928"/>
            <a:ext cx="7804588" cy="1223963"/>
          </a:xfrm>
        </p:spPr>
        <p:txBody>
          <a:bodyPr/>
          <a:lstStyle>
            <a:lvl1pPr marL="0" indent="0">
              <a:spcAft>
                <a:spcPct val="0"/>
              </a:spcAft>
              <a:buFont typeface="Arial" pitchFamily="23" charset="0"/>
              <a:buNone/>
              <a:tabLst/>
              <a:defRPr sz="2800"/>
            </a:lvl1pPr>
          </a:lstStyle>
          <a:p>
            <a:r>
              <a:rPr lang="de-DE" noProof="0"/>
              <a:t>Formatvorlage des Untertitelmasters durch Klicken bearbeiten</a:t>
            </a:r>
            <a:endParaRPr lang="en-GB" noProof="0"/>
          </a:p>
        </p:txBody>
      </p:sp>
      <p:sp>
        <p:nvSpPr>
          <p:cNvPr id="4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9137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-27384"/>
            <a:ext cx="9144000" cy="1341438"/>
          </a:xfrm>
          <a:prstGeom prst="rect">
            <a:avLst/>
          </a:prstGeom>
          <a:solidFill>
            <a:srgbClr val="8DCEED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 marL="266700" indent="-266700" algn="ctr">
              <a:spcAft>
                <a:spcPct val="100000"/>
              </a:spcAft>
              <a:buClr>
                <a:srgbClr val="0066AA"/>
              </a:buClr>
              <a:buFont typeface="Arial" pitchFamily="34" charset="0"/>
              <a:buChar char="&gt;"/>
              <a:defRPr/>
            </a:pPr>
            <a:endParaRPr lang="de-DE" kern="0">
              <a:solidFill>
                <a:sysClr val="windowText" lastClr="000000"/>
              </a:solidFill>
              <a:latin typeface="Arial" pitchFamily="23" charset="0"/>
            </a:endParaRPr>
          </a:p>
        </p:txBody>
      </p:sp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4050" y="132110"/>
            <a:ext cx="7805738" cy="1079500"/>
          </a:xfrm>
        </p:spPr>
        <p:txBody>
          <a:bodyPr anchor="ctr"/>
          <a:lstStyle>
            <a:lvl1pPr>
              <a:defRPr sz="2600" b="1"/>
            </a:lvl1pPr>
          </a:lstStyle>
          <a:p>
            <a:r>
              <a:rPr lang="de-DE" noProof="0" dirty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0822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4213" y="1700213"/>
            <a:ext cx="3743325" cy="439261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6" name="Inhaltsplatzhalter 2"/>
          <p:cNvSpPr>
            <a:spLocks noGrp="1"/>
          </p:cNvSpPr>
          <p:nvPr>
            <p:ph idx="11"/>
          </p:nvPr>
        </p:nvSpPr>
        <p:spPr>
          <a:xfrm>
            <a:off x="4716463" y="1700213"/>
            <a:ext cx="3743325" cy="439261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0674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(big, 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052513"/>
            <a:ext cx="7775575" cy="504031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200" y="477838"/>
            <a:ext cx="7804588" cy="574675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31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25129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(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773238"/>
            <a:ext cx="777557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651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(without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0450"/>
            <a:ext cx="180181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684213" y="1773238"/>
            <a:ext cx="374332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716462" y="1773238"/>
            <a:ext cx="3743325" cy="4319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5127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ttitu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W:\Projekte\JvM\RWE\2012-12-15_Office 2010-Migration\Grafiken 2_neuer Verlauf\PPT_2012-02-01_Konzernhaltung_en_blau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8"/>
          <p:cNvSpPr>
            <a:spLocks noChangeArrowheads="1"/>
          </p:cNvSpPr>
          <p:nvPr userDrawn="1"/>
        </p:nvSpPr>
        <p:spPr bwMode="gray">
          <a:xfrm>
            <a:off x="2844800" y="6381750"/>
            <a:ext cx="453548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r"/>
            <a:r>
              <a:rPr lang="en-GB" sz="800" b="1" noProof="1"/>
              <a:t>RWE AG</a:t>
            </a:r>
            <a:endParaRPr lang="en-GB" sz="800" noProof="1"/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gray">
          <a:xfrm>
            <a:off x="8459788" y="6381750"/>
            <a:ext cx="5762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r>
              <a:rPr lang="en-GB" sz="800" dirty="0"/>
              <a:t>PAGE </a:t>
            </a:r>
            <a:fld id="{22A52C08-AF4E-4786-ADE4-6F9F6CBC0FE4}" type="slidenum">
              <a:rPr lang="en-GB" sz="800"/>
              <a:pPr/>
              <a:t>‹Nr.›</a:t>
            </a:fld>
            <a:endParaRPr lang="en-GB" sz="80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15811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70721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85799" y="1341438"/>
            <a:ext cx="8207375" cy="1150937"/>
          </a:xfrm>
        </p:spPr>
        <p:txBody>
          <a:bodyPr tIns="0" anchor="b" anchorCtr="0"/>
          <a:lstStyle>
            <a:lvl1pPr>
              <a:defRPr sz="3600"/>
            </a:lvl1pPr>
          </a:lstStyle>
          <a:p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Click to edit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84213" y="2636838"/>
            <a:ext cx="8208962" cy="115252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spcBef>
                <a:spcPts val="3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GB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684213" y="3985827"/>
            <a:ext cx="8208962" cy="5048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Location, 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8767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Click to edit Master title style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63683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Click to edit Master title style 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GB" noProof="0" dirty="0"/>
              <a:t>Edit Master text format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259905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34934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596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6553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91397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85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>
            <a:noAutofit/>
          </a:bodyPr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173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>
            <a:noAutofit/>
          </a:bodyPr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721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3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6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2.vml"/><Relationship Id="rId11" Type="http://schemas.openxmlformats.org/officeDocument/2006/relationships/oleObject" Target="../embeddings/oleObject2.bin"/><Relationship Id="rId5" Type="http://schemas.openxmlformats.org/officeDocument/2006/relationships/theme" Target="../theme/theme5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391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US"/>
              <a:t>© Prof. Graham Wea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/>
              <a:t>Wind Europe Summit 2016 - LCOEs in the Context of EU Energy Marke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fld id="{4AE60773-1BD9-4896-8DB0-A31ED5DBFBE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AutoShape 2" descr="Bildergebnis für rub logo"/>
          <p:cNvSpPr>
            <a:spLocks noChangeAspect="1" noChangeArrowheads="1"/>
          </p:cNvSpPr>
          <p:nvPr userDrawn="1"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2299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rgbClr val="002060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54050" y="477838"/>
            <a:ext cx="7805738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4124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ＭＳ Ｐゴシック" pitchFamily="-111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9pPr>
    </p:titleStyle>
    <p:bodyStyle>
      <a:lvl1pPr marL="266700" indent="-266700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&gt;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-111" charset="-128"/>
          <a:cs typeface="ＭＳ Ｐゴシック" pitchFamily="-111" charset="-128"/>
        </a:defRPr>
      </a:lvl1pPr>
      <a:lvl2pPr marL="530225" indent="-261938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2pPr>
      <a:lvl3pPr marL="806450" indent="-274638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3pPr>
      <a:lvl4pPr marL="10731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4pPr>
      <a:lvl5pPr marL="13398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84212" y="476250"/>
            <a:ext cx="8208963" cy="72072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84212" y="1341439"/>
            <a:ext cx="8208963" cy="43926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Edit Master text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220072" y="6309202"/>
            <a:ext cx="3096344" cy="2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gray">
          <a:xfrm>
            <a:off x="8316416" y="6309352"/>
            <a:ext cx="576758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VCT_Marker_ID_12" hidden="1"/>
          <p:cNvSpPr/>
          <p:nvPr>
            <p:custDataLst>
              <p:tags r:id="rId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  <a:buFont typeface="Arial" pitchFamily="34" charset="0"/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9" name="Oval 8" hidden="1"/>
          <p:cNvSpPr/>
          <p:nvPr>
            <p:custDataLst>
              <p:tags r:id="rId10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2339936" y="6309320"/>
            <a:ext cx="1656000" cy="2883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>
              <a:buClr>
                <a:schemeClr val="tx2"/>
              </a:buClr>
            </a:pPr>
            <a:r>
              <a:rPr lang="en-GB" sz="800" dirty="0">
                <a:solidFill>
                  <a:schemeClr val="tx1"/>
                </a:solidFill>
              </a:rPr>
              <a:t>© Prof. Graham Weale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685274" y="6309320"/>
            <a:ext cx="1656000" cy="2883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>
              <a:buClr>
                <a:schemeClr val="tx2"/>
              </a:buClr>
            </a:pPr>
            <a:r>
              <a:rPr lang="en-GB" sz="800" dirty="0">
                <a:solidFill>
                  <a:schemeClr val="tx1"/>
                </a:solidFill>
              </a:rPr>
              <a:t> Smart Energies Summit – Paris</a:t>
            </a:r>
          </a:p>
        </p:txBody>
      </p:sp>
    </p:spTree>
    <p:extLst>
      <p:ext uri="{BB962C8B-B14F-4D97-AF65-F5344CB8AC3E}">
        <p14:creationId xmlns:p14="http://schemas.microsoft.com/office/powerpoint/2010/main" val="4223187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54050" y="477838"/>
            <a:ext cx="7805738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28" name="Rectangle 8"/>
          <p:cNvSpPr>
            <a:spLocks noChangeArrowheads="1"/>
          </p:cNvSpPr>
          <p:nvPr/>
        </p:nvSpPr>
        <p:spPr bwMode="gray">
          <a:xfrm>
            <a:off x="2844800" y="6381750"/>
            <a:ext cx="453548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r"/>
            <a:r>
              <a:rPr lang="en-GB" sz="800" b="0" noProof="1"/>
              <a:t> RWE Essen - Lunch’n Learn</a:t>
            </a:r>
          </a:p>
        </p:txBody>
      </p:sp>
      <p:sp>
        <p:nvSpPr>
          <p:cNvPr id="1029" name="Rectangle 9"/>
          <p:cNvSpPr>
            <a:spLocks noChangeArrowheads="1"/>
          </p:cNvSpPr>
          <p:nvPr/>
        </p:nvSpPr>
        <p:spPr bwMode="gray">
          <a:xfrm>
            <a:off x="8459788" y="6381750"/>
            <a:ext cx="5762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r>
              <a:rPr lang="en-GB" sz="800" dirty="0"/>
              <a:t>PAGE </a:t>
            </a:r>
            <a:fld id="{22A52C08-AF4E-4786-ADE4-6F9F6CBC0FE4}" type="slidenum">
              <a:rPr lang="en-GB" sz="800"/>
              <a:pPr/>
              <a:t>‹Nr.›</a:t>
            </a:fld>
            <a:endParaRPr lang="en-GB" sz="80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7451725" y="6380163"/>
            <a:ext cx="6492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r>
              <a:rPr lang="en-US"/>
              <a:t>© Prof. Graham We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8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ＭＳ Ｐゴシック" pitchFamily="-111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9pPr>
    </p:titleStyle>
    <p:bodyStyle>
      <a:lvl1pPr marL="266700" indent="-266700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&gt;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-111" charset="-128"/>
          <a:cs typeface="ＭＳ Ｐゴシック" pitchFamily="-111" charset="-128"/>
        </a:defRPr>
      </a:lvl1pPr>
      <a:lvl2pPr marL="530225" indent="-261938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2pPr>
      <a:lvl3pPr marL="806450" indent="-274638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3pPr>
      <a:lvl4pPr marL="10731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4pPr>
      <a:lvl5pPr marL="13398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  <a:cs typeface="ＭＳ Ｐゴシック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84212" y="476250"/>
            <a:ext cx="8208963" cy="72072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84212" y="1341439"/>
            <a:ext cx="8208963" cy="43926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Edit Master text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220072" y="6309202"/>
            <a:ext cx="3096344" cy="2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Wind Europe Summit 2016 - LCOEs in the Context of EU Energy Markets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gray">
          <a:xfrm>
            <a:off x="8316416" y="6309352"/>
            <a:ext cx="576758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|  Page </a:t>
            </a:r>
            <a:fld id="{F54C48D9-7E1D-49BE-ABC7-6F346D10CB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VCT_Marker_ID_12" hidden="1"/>
          <p:cNvSpPr/>
          <p:nvPr>
            <p:custDataLst>
              <p:tags r:id="rId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  <a:buFont typeface="Arial" pitchFamily="34" charset="0"/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9" name="Oval 8" hidden="1"/>
          <p:cNvSpPr/>
          <p:nvPr>
            <p:custDataLst>
              <p:tags r:id="rId10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2339936" y="6309320"/>
            <a:ext cx="1656000" cy="2883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>
              <a:buClr>
                <a:schemeClr val="tx2"/>
              </a:buClr>
            </a:pPr>
            <a:r>
              <a:rPr lang="en-GB" sz="800" dirty="0">
                <a:solidFill>
                  <a:schemeClr val="tx1"/>
                </a:solidFill>
              </a:rPr>
              <a:t>© Prof. Graham Weale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685274" y="6309320"/>
            <a:ext cx="1656000" cy="2883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>
              <a:buClr>
                <a:schemeClr val="tx2"/>
              </a:buClr>
            </a:pPr>
            <a:r>
              <a:rPr lang="en-GB" sz="800" dirty="0">
                <a:solidFill>
                  <a:schemeClr val="tx1"/>
                </a:solidFill>
              </a:rPr>
              <a:t> Wind Europe Summit 2016</a:t>
            </a:r>
          </a:p>
        </p:txBody>
      </p:sp>
    </p:spTree>
    <p:extLst>
      <p:ext uri="{BB962C8B-B14F-4D97-AF65-F5344CB8AC3E}">
        <p14:creationId xmlns:p14="http://schemas.microsoft.com/office/powerpoint/2010/main" val="3954466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&gt;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3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gray"/>
        <p:txBody>
          <a:bodyPr anchor="t"/>
          <a:lstStyle/>
          <a:p>
            <a:r>
              <a:rPr lang="en-US" sz="3200" dirty="0"/>
              <a:t>Relevance of LCOEs for Energy Markets – today and in the future</a:t>
            </a:r>
            <a:endParaRPr lang="en-GB" sz="32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gray">
          <a:xfrm>
            <a:off x="684213" y="2636839"/>
            <a:ext cx="8208962" cy="360114"/>
          </a:xfrm>
        </p:spPr>
        <p:txBody>
          <a:bodyPr/>
          <a:lstStyle/>
          <a:p>
            <a:r>
              <a:rPr lang="en-GB" dirty="0"/>
              <a:t>Prof. Graham Wea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 bwMode="gray">
          <a:xfrm>
            <a:off x="684213" y="3212207"/>
            <a:ext cx="8208962" cy="504825"/>
          </a:xfrm>
        </p:spPr>
        <p:txBody>
          <a:bodyPr/>
          <a:lstStyle/>
          <a:p>
            <a:r>
              <a:rPr lang="en-GB" dirty="0"/>
              <a:t>Ruhr University Bochum, Germany</a:t>
            </a:r>
            <a:br>
              <a:rPr lang="en-GB" dirty="0"/>
            </a:br>
            <a:r>
              <a:rPr lang="en-GB" dirty="0"/>
              <a:t>Wind Europe Summit 2016, Hamburg 29</a:t>
            </a:r>
            <a:r>
              <a:rPr lang="en-GB" baseline="30000" dirty="0"/>
              <a:t>th</a:t>
            </a:r>
            <a:r>
              <a:rPr lang="en-GB" dirty="0"/>
              <a:t> Sept.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13874" y="3933789"/>
            <a:ext cx="4716524" cy="20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16"/>
          <p:cNvSpPr/>
          <p:nvPr>
            <p:custDataLst>
              <p:tags r:id="rId5"/>
            </p:custDataLst>
          </p:nvPr>
        </p:nvSpPr>
        <p:spPr bwMode="gray">
          <a:xfrm>
            <a:off x="0" y="3933789"/>
            <a:ext cx="2124000" cy="201549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8" name="Rechteck 17"/>
          <p:cNvSpPr/>
          <p:nvPr>
            <p:custDataLst>
              <p:tags r:id="rId6"/>
            </p:custDataLst>
          </p:nvPr>
        </p:nvSpPr>
        <p:spPr bwMode="gray">
          <a:xfrm>
            <a:off x="7020272" y="3933789"/>
            <a:ext cx="2124000" cy="201549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87822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5981700" cy="1143000"/>
          </a:xfrm>
        </p:spPr>
        <p:txBody>
          <a:bodyPr/>
          <a:lstStyle/>
          <a:p>
            <a:r>
              <a:rPr lang="de-DE" dirty="0"/>
              <a:t>3. </a:t>
            </a:r>
            <a:r>
              <a:rPr lang="de-DE" dirty="0" err="1"/>
              <a:t>Longer</a:t>
            </a:r>
            <a:r>
              <a:rPr lang="de-DE" dirty="0"/>
              <a:t>-term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LCOE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667508"/>
          </a:xfrm>
        </p:spPr>
        <p:txBody>
          <a:bodyPr>
            <a:noAutofit/>
          </a:bodyPr>
          <a:lstStyle/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Over time </a:t>
            </a:r>
            <a:r>
              <a:rPr lang="de-DE" sz="1800" dirty="0" err="1"/>
              <a:t>determines</a:t>
            </a:r>
            <a:r>
              <a:rPr lang="de-DE" sz="1800" dirty="0"/>
              <a:t> </a:t>
            </a:r>
            <a:r>
              <a:rPr lang="de-DE" sz="1800" dirty="0" err="1"/>
              <a:t>what</a:t>
            </a:r>
            <a:r>
              <a:rPr lang="de-DE" sz="1800" dirty="0"/>
              <a:t> </a:t>
            </a:r>
            <a:r>
              <a:rPr lang="de-DE" sz="1800" dirty="0" err="1"/>
              <a:t>consumers</a:t>
            </a:r>
            <a:r>
              <a:rPr lang="de-DE" sz="1800" dirty="0"/>
              <a:t> /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economy</a:t>
            </a:r>
            <a:r>
              <a:rPr lang="de-DE" sz="1800" dirty="0"/>
              <a:t> </a:t>
            </a:r>
            <a:r>
              <a:rPr lang="de-DE" sz="1800" dirty="0" err="1"/>
              <a:t>has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pay</a:t>
            </a:r>
            <a:r>
              <a:rPr lang="de-DE" sz="1800" dirty="0"/>
              <a:t> for power</a:t>
            </a:r>
          </a:p>
          <a:p>
            <a:pPr lvl="1">
              <a:spcAft>
                <a:spcPts val="1800"/>
              </a:spcAft>
            </a:pPr>
            <a:r>
              <a:rPr lang="de-DE" sz="1800" dirty="0"/>
              <a:t>also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olitical</a:t>
            </a:r>
            <a:r>
              <a:rPr lang="de-DE" sz="1800" dirty="0"/>
              <a:t> </a:t>
            </a:r>
            <a:r>
              <a:rPr lang="de-DE" sz="1800" dirty="0" err="1"/>
              <a:t>pac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decarbonisation</a:t>
            </a:r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Contributes to the international competitiveness of a country</a:t>
            </a:r>
            <a:endParaRPr lang="de-DE" sz="1800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Lower LCOEs keep electricity more competitive against other forms of energy</a:t>
            </a:r>
          </a:p>
          <a:p>
            <a:pPr lvl="1">
              <a:spcAft>
                <a:spcPts val="1800"/>
              </a:spcAft>
            </a:pPr>
            <a:r>
              <a:rPr lang="de-DE" sz="1800" dirty="0"/>
              <a:t>E.g. </a:t>
            </a:r>
            <a:r>
              <a:rPr lang="de-DE" sz="1800" dirty="0" err="1"/>
              <a:t>natural</a:t>
            </a:r>
            <a:r>
              <a:rPr lang="de-DE" sz="1800" dirty="0"/>
              <a:t> gas, hydrogen and </a:t>
            </a:r>
            <a:r>
              <a:rPr lang="de-DE" sz="1800" dirty="0" err="1"/>
              <a:t>even</a:t>
            </a:r>
            <a:r>
              <a:rPr lang="de-DE" sz="1800" dirty="0"/>
              <a:t> </a:t>
            </a:r>
            <a:r>
              <a:rPr lang="de-DE" sz="1800" dirty="0" err="1"/>
              <a:t>energy</a:t>
            </a:r>
            <a:r>
              <a:rPr lang="de-DE" sz="1800" dirty="0"/>
              <a:t> </a:t>
            </a:r>
            <a:r>
              <a:rPr lang="de-DE" sz="1800" dirty="0" err="1"/>
              <a:t>efficiency</a:t>
            </a:r>
            <a:r>
              <a:rPr lang="de-DE" sz="1800" dirty="0"/>
              <a:t> </a:t>
            </a:r>
            <a:r>
              <a:rPr lang="de-DE" sz="1800" dirty="0" err="1"/>
              <a:t>investment</a:t>
            </a:r>
            <a:endParaRPr lang="de-DE" sz="1800" dirty="0"/>
          </a:p>
          <a:p>
            <a:pPr lvl="2">
              <a:spcAft>
                <a:spcPts val="1800"/>
              </a:spcAft>
            </a:pPr>
            <a:r>
              <a:rPr lang="de-DE" sz="1800" dirty="0"/>
              <a:t>But </a:t>
            </a:r>
            <a:r>
              <a:rPr lang="de-DE" sz="1800" dirty="0" err="1"/>
              <a:t>energy</a:t>
            </a:r>
            <a:r>
              <a:rPr lang="de-DE" sz="1800" dirty="0"/>
              <a:t> </a:t>
            </a:r>
            <a:r>
              <a:rPr lang="de-DE" sz="1800" dirty="0" err="1"/>
              <a:t>taxation</a:t>
            </a:r>
            <a:r>
              <a:rPr lang="de-DE" sz="1800" dirty="0"/>
              <a:t> must not stand in </a:t>
            </a:r>
            <a:r>
              <a:rPr lang="de-DE" sz="1800" dirty="0" err="1"/>
              <a:t>way</a:t>
            </a:r>
            <a:endParaRPr lang="de-DE" sz="1800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 err="1"/>
              <a:t>Helps</a:t>
            </a:r>
            <a:r>
              <a:rPr lang="de-DE" sz="1800" b="1" dirty="0"/>
              <a:t> </a:t>
            </a:r>
            <a:r>
              <a:rPr lang="de-DE" sz="1800" b="1" dirty="0" err="1"/>
              <a:t>pave</a:t>
            </a:r>
            <a:r>
              <a:rPr lang="de-DE" sz="1800" b="1" dirty="0"/>
              <a:t> </a:t>
            </a:r>
            <a:r>
              <a:rPr lang="de-DE" sz="1800" b="1" dirty="0" err="1"/>
              <a:t>way</a:t>
            </a:r>
            <a:r>
              <a:rPr lang="de-DE" sz="1800" b="1" dirty="0"/>
              <a:t> for a strong </a:t>
            </a:r>
            <a:r>
              <a:rPr lang="de-DE" sz="1800" b="1" dirty="0" err="1"/>
              <a:t>electrification</a:t>
            </a:r>
            <a:r>
              <a:rPr lang="de-DE" sz="1800" b="1" dirty="0"/>
              <a:t> </a:t>
            </a:r>
            <a:r>
              <a:rPr lang="de-DE" sz="1800" b="1" dirty="0" err="1"/>
              <a:t>policy</a:t>
            </a:r>
            <a:endParaRPr lang="de-DE" sz="1800" b="1" dirty="0"/>
          </a:p>
          <a:p>
            <a:pPr lvl="1">
              <a:spcAft>
                <a:spcPts val="1800"/>
              </a:spcAft>
            </a:pPr>
            <a:r>
              <a:rPr lang="de-DE" sz="1800" dirty="0" err="1"/>
              <a:t>Increase</a:t>
            </a:r>
            <a:r>
              <a:rPr lang="de-DE" sz="1800" dirty="0"/>
              <a:t> </a:t>
            </a:r>
            <a:r>
              <a:rPr lang="de-DE" sz="1800" dirty="0" err="1"/>
              <a:t>market</a:t>
            </a:r>
            <a:r>
              <a:rPr lang="de-DE" sz="1800" dirty="0"/>
              <a:t> </a:t>
            </a:r>
            <a:r>
              <a:rPr lang="de-DE" sz="1800" dirty="0" err="1"/>
              <a:t>shar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ower in final </a:t>
            </a:r>
            <a:r>
              <a:rPr lang="de-DE" sz="1800" dirty="0" err="1"/>
              <a:t>consumption</a:t>
            </a:r>
            <a:endParaRPr lang="en-GB" sz="1800" dirty="0"/>
          </a:p>
          <a:p>
            <a:pPr lvl="1">
              <a:spcAft>
                <a:spcPts val="1800"/>
              </a:spcAft>
            </a:pPr>
            <a:r>
              <a:rPr lang="en-GB" sz="1800" dirty="0"/>
              <a:t>Allows more energy to be used without increasing CO</a:t>
            </a:r>
            <a:r>
              <a:rPr lang="en-GB" sz="1800" baseline="-25000" dirty="0"/>
              <a:t>2</a:t>
            </a:r>
            <a:r>
              <a:rPr lang="en-GB" sz="1800" dirty="0"/>
              <a:t> emission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10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240" y="3176"/>
            <a:ext cx="2411760" cy="150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249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/>
              <a:t>LCOEs for different </a:t>
            </a:r>
            <a:r>
              <a:rPr lang="de-DE" dirty="0" err="1"/>
              <a:t>for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– must </a:t>
            </a:r>
            <a:r>
              <a:rPr lang="de-DE" dirty="0" err="1"/>
              <a:t>look</a:t>
            </a:r>
            <a:r>
              <a:rPr lang="de-DE" dirty="0"/>
              <a:t> </a:t>
            </a:r>
            <a:r>
              <a:rPr lang="de-DE" dirty="0" err="1"/>
              <a:t>beyond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!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1800" dirty="0" err="1"/>
              <a:t>Rac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floor</a:t>
            </a:r>
            <a:r>
              <a:rPr lang="de-DE" sz="1800" dirty="0"/>
              <a:t> – limited global </a:t>
            </a:r>
            <a:r>
              <a:rPr lang="de-DE" sz="1800" dirty="0" err="1"/>
              <a:t>carbon</a:t>
            </a:r>
            <a:r>
              <a:rPr lang="de-DE" sz="1800" dirty="0"/>
              <a:t> </a:t>
            </a:r>
            <a:r>
              <a:rPr lang="de-DE" sz="1800" dirty="0" err="1"/>
              <a:t>budget</a:t>
            </a:r>
            <a:r>
              <a:rPr lang="de-DE" sz="1800" dirty="0"/>
              <a:t> </a:t>
            </a:r>
            <a:r>
              <a:rPr lang="de-DE" sz="1800" dirty="0" err="1"/>
              <a:t>limits</a:t>
            </a:r>
            <a:r>
              <a:rPr lang="de-DE" sz="1800" dirty="0"/>
              <a:t> </a:t>
            </a:r>
            <a:r>
              <a:rPr lang="de-DE" sz="1800" dirty="0" err="1"/>
              <a:t>lead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prospec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lower</a:t>
            </a:r>
            <a:r>
              <a:rPr lang="de-DE" sz="1800" dirty="0"/>
              <a:t> </a:t>
            </a:r>
            <a:r>
              <a:rPr lang="de-DE" sz="1800" dirty="0" err="1"/>
              <a:t>long</a:t>
            </a:r>
            <a:r>
              <a:rPr lang="de-DE" sz="1800" dirty="0"/>
              <a:t>-term fossil-</a:t>
            </a:r>
            <a:r>
              <a:rPr lang="de-DE" sz="1800" dirty="0" err="1"/>
              <a:t>fuel</a:t>
            </a:r>
            <a:r>
              <a:rPr lang="de-DE" sz="1800" dirty="0"/>
              <a:t> </a:t>
            </a:r>
            <a:r>
              <a:rPr lang="de-DE" sz="1800" dirty="0" err="1"/>
              <a:t>prices</a:t>
            </a:r>
            <a:r>
              <a:rPr lang="de-DE" sz="1800" dirty="0"/>
              <a:t> </a:t>
            </a:r>
            <a:r>
              <a:rPr lang="de-DE" sz="1800" dirty="0" err="1"/>
              <a:t>continuing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challenge</a:t>
            </a:r>
            <a:r>
              <a:rPr lang="de-DE" sz="1800" dirty="0"/>
              <a:t> </a:t>
            </a:r>
            <a:r>
              <a:rPr lang="de-DE" sz="1800" dirty="0" err="1"/>
              <a:t>renewables</a:t>
            </a:r>
            <a:endParaRPr lang="de-DE" sz="1800" dirty="0"/>
          </a:p>
          <a:p>
            <a:pPr lvl="1"/>
            <a:r>
              <a:rPr lang="de-DE" sz="1800" dirty="0"/>
              <a:t>Offshore wind </a:t>
            </a:r>
            <a:r>
              <a:rPr lang="de-DE" sz="1800" dirty="0" err="1"/>
              <a:t>has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join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ace</a:t>
            </a:r>
            <a:r>
              <a:rPr lang="de-DE" sz="1800" dirty="0"/>
              <a:t>!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11</a:t>
            </a:fld>
            <a:endParaRPr lang="de-DE"/>
          </a:p>
        </p:txBody>
      </p:sp>
      <p:graphicFrame>
        <p:nvGraphicFramePr>
          <p:cNvPr id="9" name="Diagramm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603039"/>
              </p:ext>
            </p:extLst>
          </p:nvPr>
        </p:nvGraphicFramePr>
        <p:xfrm>
          <a:off x="683568" y="2996951"/>
          <a:ext cx="7488832" cy="310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06778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5562600" cy="1143000"/>
          </a:xfrm>
        </p:spPr>
        <p:txBody>
          <a:bodyPr/>
          <a:lstStyle/>
          <a:p>
            <a:r>
              <a:rPr lang="de-DE" dirty="0"/>
              <a:t>4. Will LCOEs </a:t>
            </a:r>
            <a:r>
              <a:rPr lang="de-DE" dirty="0" err="1"/>
              <a:t>continu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199"/>
            <a:ext cx="8363272" cy="4925145"/>
          </a:xfrm>
        </p:spPr>
        <p:txBody>
          <a:bodyPr>
            <a:normAutofit/>
          </a:bodyPr>
          <a:lstStyle/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Yes, so </a:t>
            </a:r>
            <a:r>
              <a:rPr lang="de-DE" sz="1800" dirty="0" err="1"/>
              <a:t>long</a:t>
            </a:r>
            <a:r>
              <a:rPr lang="de-DE" sz="1800" dirty="0"/>
              <a:t> </a:t>
            </a:r>
            <a:r>
              <a:rPr lang="de-DE" sz="1800" dirty="0" err="1"/>
              <a:t>as</a:t>
            </a:r>
            <a:r>
              <a:rPr lang="de-DE" sz="1800" dirty="0"/>
              <a:t> </a:t>
            </a:r>
            <a:r>
              <a:rPr lang="de-DE" sz="1800" dirty="0" err="1"/>
              <a:t>focus</a:t>
            </a:r>
            <a:r>
              <a:rPr lang="de-DE" sz="1800" dirty="0"/>
              <a:t> </a:t>
            </a:r>
            <a:r>
              <a:rPr lang="de-DE" sz="1800" dirty="0" err="1"/>
              <a:t>is</a:t>
            </a:r>
            <a:r>
              <a:rPr lang="de-DE" sz="1800" dirty="0"/>
              <a:t> on </a:t>
            </a:r>
            <a:r>
              <a:rPr lang="de-DE" sz="1800" dirty="0" err="1"/>
              <a:t>the</a:t>
            </a:r>
            <a:r>
              <a:rPr lang="de-DE" sz="1800" dirty="0"/>
              <a:t> MWh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energy</a:t>
            </a:r>
            <a:r>
              <a:rPr lang="de-DE" sz="1800" dirty="0"/>
              <a:t> </a:t>
            </a:r>
            <a:r>
              <a:rPr lang="de-DE" sz="1800" dirty="0" err="1"/>
              <a:t>itself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/>
              <a:t>But </a:t>
            </a:r>
            <a:r>
              <a:rPr lang="de-DE" sz="1800" dirty="0" err="1"/>
              <a:t>need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make</a:t>
            </a:r>
            <a:r>
              <a:rPr lang="de-DE" sz="1800" dirty="0"/>
              <a:t> different </a:t>
            </a:r>
            <a:r>
              <a:rPr lang="de-DE" sz="1800" dirty="0" err="1"/>
              <a:t>sources</a:t>
            </a:r>
            <a:r>
              <a:rPr lang="de-DE" sz="1800" dirty="0"/>
              <a:t> </a:t>
            </a:r>
            <a:r>
              <a:rPr lang="de-DE" sz="1800" dirty="0" err="1"/>
              <a:t>strictly</a:t>
            </a:r>
            <a:r>
              <a:rPr lang="de-DE" sz="1800" dirty="0"/>
              <a:t> </a:t>
            </a:r>
            <a:r>
              <a:rPr lang="de-DE" sz="1800" dirty="0" err="1"/>
              <a:t>comparable</a:t>
            </a:r>
            <a:r>
              <a:rPr lang="de-DE" sz="1800" dirty="0"/>
              <a:t> and </a:t>
            </a:r>
            <a:r>
              <a:rPr lang="de-DE" sz="1800" dirty="0" err="1"/>
              <a:t>include</a:t>
            </a:r>
            <a:r>
              <a:rPr lang="de-DE" sz="1800" dirty="0"/>
              <a:t> </a:t>
            </a:r>
            <a:r>
              <a:rPr lang="de-DE" sz="1800" dirty="0" err="1"/>
              <a:t>appropriate</a:t>
            </a:r>
            <a:r>
              <a:rPr lang="de-DE" sz="1800" dirty="0"/>
              <a:t> </a:t>
            </a:r>
            <a:r>
              <a:rPr lang="de-DE" sz="1800" dirty="0" err="1"/>
              <a:t>transport</a:t>
            </a:r>
            <a:r>
              <a:rPr lang="de-DE" sz="1800" dirty="0"/>
              <a:t>, </a:t>
            </a:r>
            <a:r>
              <a:rPr lang="de-DE" sz="1800" dirty="0" err="1"/>
              <a:t>balancing</a:t>
            </a:r>
            <a:r>
              <a:rPr lang="de-DE" sz="1800" dirty="0"/>
              <a:t> and environmental </a:t>
            </a:r>
            <a:r>
              <a:rPr lang="de-DE" sz="1800" dirty="0" err="1"/>
              <a:t>costs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 err="1"/>
              <a:t>Delivered</a:t>
            </a:r>
            <a:r>
              <a:rPr lang="de-DE" sz="1800" dirty="0"/>
              <a:t> MWh </a:t>
            </a:r>
            <a:r>
              <a:rPr lang="de-DE" sz="1800" dirty="0" err="1"/>
              <a:t>is</a:t>
            </a:r>
            <a:r>
              <a:rPr lang="de-DE" sz="1800" dirty="0"/>
              <a:t> a solid </a:t>
            </a:r>
            <a:r>
              <a:rPr lang="de-DE" sz="1800" dirty="0" err="1"/>
              <a:t>metric</a:t>
            </a:r>
            <a:r>
              <a:rPr lang="de-DE" sz="1800" dirty="0"/>
              <a:t>, </a:t>
            </a:r>
            <a:r>
              <a:rPr lang="de-DE" sz="1800" dirty="0" err="1"/>
              <a:t>though</a:t>
            </a:r>
            <a:r>
              <a:rPr lang="de-DE" sz="1800" dirty="0"/>
              <a:t> </a:t>
            </a:r>
            <a:r>
              <a:rPr lang="de-DE" sz="1800" dirty="0" err="1"/>
              <a:t>value</a:t>
            </a:r>
            <a:r>
              <a:rPr lang="de-DE" sz="1800" dirty="0"/>
              <a:t> </a:t>
            </a:r>
            <a:r>
              <a:rPr lang="de-DE" sz="1800" dirty="0" err="1"/>
              <a:t>may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very</a:t>
            </a:r>
            <a:r>
              <a:rPr lang="de-DE" sz="1800" dirty="0"/>
              <a:t> different</a:t>
            </a:r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Alternative: </a:t>
            </a:r>
            <a:r>
              <a:rPr lang="de-DE" sz="1800" dirty="0" err="1"/>
              <a:t>annual</a:t>
            </a:r>
            <a:r>
              <a:rPr lang="de-DE" sz="1800" dirty="0"/>
              <a:t> </a:t>
            </a:r>
            <a:r>
              <a:rPr lang="de-DE" sz="1800" dirty="0" err="1"/>
              <a:t>capacity-related</a:t>
            </a:r>
            <a:r>
              <a:rPr lang="de-DE" sz="1800" dirty="0"/>
              <a:t> </a:t>
            </a:r>
            <a:r>
              <a:rPr lang="de-DE" sz="1800" dirty="0" err="1"/>
              <a:t>payment</a:t>
            </a:r>
            <a:r>
              <a:rPr lang="de-DE" sz="1800" dirty="0"/>
              <a:t> for </a:t>
            </a:r>
            <a:r>
              <a:rPr lang="de-DE" sz="1800" dirty="0" err="1"/>
              <a:t>availability</a:t>
            </a:r>
            <a:endParaRPr lang="de-DE" sz="1800" dirty="0"/>
          </a:p>
          <a:p>
            <a:pPr lvl="2">
              <a:spcAft>
                <a:spcPts val="1800"/>
              </a:spcAft>
            </a:pP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owners</a:t>
            </a:r>
            <a:r>
              <a:rPr lang="de-DE" sz="1800" dirty="0"/>
              <a:t> </a:t>
            </a:r>
            <a:r>
              <a:rPr lang="de-DE" sz="1800" dirty="0" err="1"/>
              <a:t>earning</a:t>
            </a:r>
            <a:r>
              <a:rPr lang="de-DE" sz="1800" dirty="0"/>
              <a:t> </a:t>
            </a:r>
            <a:r>
              <a:rPr lang="de-DE" sz="1800" dirty="0" err="1"/>
              <a:t>directly</a:t>
            </a:r>
            <a:r>
              <a:rPr lang="de-DE" sz="1800" dirty="0"/>
              <a:t> </a:t>
            </a:r>
            <a:r>
              <a:rPr lang="de-DE" sz="1800" dirty="0" err="1"/>
              <a:t>from</a:t>
            </a:r>
            <a:r>
              <a:rPr lang="de-DE" sz="1800" dirty="0"/>
              <a:t> </a:t>
            </a:r>
            <a:r>
              <a:rPr lang="de-DE" sz="1800" dirty="0" err="1"/>
              <a:t>wholesale</a:t>
            </a:r>
            <a:r>
              <a:rPr lang="de-DE" sz="1800" dirty="0"/>
              <a:t> </a:t>
            </a:r>
            <a:r>
              <a:rPr lang="de-DE" sz="1800" dirty="0" err="1"/>
              <a:t>market</a:t>
            </a:r>
            <a:r>
              <a:rPr lang="de-DE" sz="1800" dirty="0"/>
              <a:t> for MWh </a:t>
            </a:r>
            <a:r>
              <a:rPr lang="de-DE" sz="1800" dirty="0" err="1"/>
              <a:t>produced</a:t>
            </a:r>
            <a:r>
              <a:rPr lang="de-DE" sz="1800" dirty="0"/>
              <a:t> (and </a:t>
            </a:r>
            <a:r>
              <a:rPr lang="de-DE" sz="1800" dirty="0" err="1"/>
              <a:t>taking</a:t>
            </a:r>
            <a:r>
              <a:rPr lang="de-DE" sz="1800" dirty="0"/>
              <a:t> </a:t>
            </a:r>
            <a:r>
              <a:rPr lang="de-DE" sz="1800" dirty="0" err="1"/>
              <a:t>market</a:t>
            </a:r>
            <a:r>
              <a:rPr lang="de-DE" sz="1800" dirty="0"/>
              <a:t> </a:t>
            </a:r>
            <a:r>
              <a:rPr lang="de-DE" sz="1800" dirty="0" err="1"/>
              <a:t>risk</a:t>
            </a:r>
            <a:r>
              <a:rPr lang="de-DE" sz="1800" dirty="0"/>
              <a:t>)</a:t>
            </a:r>
          </a:p>
          <a:p>
            <a:pPr lvl="2">
              <a:spcAft>
                <a:spcPts val="1800"/>
              </a:spcAft>
            </a:pPr>
            <a:r>
              <a:rPr lang="de-DE" sz="1800" dirty="0" err="1"/>
              <a:t>Similar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concept</a:t>
            </a:r>
            <a:r>
              <a:rPr lang="de-DE" sz="1800" dirty="0"/>
              <a:t> for thermal plant </a:t>
            </a:r>
            <a:r>
              <a:rPr lang="de-DE" sz="1800" dirty="0" err="1"/>
              <a:t>capacity</a:t>
            </a:r>
            <a:r>
              <a:rPr lang="de-DE" sz="1800" dirty="0"/>
              <a:t> </a:t>
            </a:r>
            <a:r>
              <a:rPr lang="de-DE" sz="1800" dirty="0" err="1"/>
              <a:t>payments</a:t>
            </a:r>
            <a:endParaRPr lang="de-DE" sz="1800" dirty="0"/>
          </a:p>
          <a:p>
            <a:pPr lvl="2">
              <a:spcAft>
                <a:spcPts val="1800"/>
              </a:spcAft>
            </a:pPr>
            <a:r>
              <a:rPr lang="de-DE" sz="1800" dirty="0" err="1"/>
              <a:t>Would</a:t>
            </a:r>
            <a:r>
              <a:rPr lang="de-DE" sz="1800" dirty="0"/>
              <a:t> </a:t>
            </a:r>
            <a:r>
              <a:rPr lang="de-DE" sz="1800" dirty="0" err="1"/>
              <a:t>focus</a:t>
            </a:r>
            <a:r>
              <a:rPr lang="de-DE" sz="1800" dirty="0"/>
              <a:t> </a:t>
            </a:r>
            <a:r>
              <a:rPr lang="de-DE" sz="1800" dirty="0" err="1"/>
              <a:t>attention</a:t>
            </a:r>
            <a:r>
              <a:rPr lang="de-DE" sz="1800" dirty="0"/>
              <a:t> on </a:t>
            </a:r>
            <a:r>
              <a:rPr lang="de-DE" sz="1800" b="1" dirty="0" err="1"/>
              <a:t>maximising</a:t>
            </a:r>
            <a:r>
              <a:rPr lang="de-DE" sz="1800" b="1" dirty="0"/>
              <a:t> </a:t>
            </a:r>
            <a:r>
              <a:rPr lang="de-DE" sz="1800" b="1" dirty="0" err="1"/>
              <a:t>value</a:t>
            </a:r>
            <a:r>
              <a:rPr lang="de-DE" sz="1800" b="1" dirty="0"/>
              <a:t> </a:t>
            </a:r>
            <a:r>
              <a:rPr lang="de-DE" sz="1800" b="1" dirty="0" err="1"/>
              <a:t>of</a:t>
            </a:r>
            <a:r>
              <a:rPr lang="de-DE" sz="1800" b="1" dirty="0"/>
              <a:t> </a:t>
            </a:r>
            <a:r>
              <a:rPr lang="de-DE" sz="1800" b="1" dirty="0" err="1"/>
              <a:t>projects</a:t>
            </a:r>
            <a:endParaRPr lang="de-DE" sz="1800" b="1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 err="1"/>
              <a:t>Conclusion</a:t>
            </a:r>
            <a:r>
              <a:rPr lang="de-DE" sz="1800" b="1" dirty="0"/>
              <a:t>: for at least </a:t>
            </a:r>
            <a:r>
              <a:rPr lang="de-DE" sz="1800" b="1" dirty="0" err="1"/>
              <a:t>the</a:t>
            </a:r>
            <a:r>
              <a:rPr lang="de-DE" sz="1800" b="1" dirty="0"/>
              <a:t> medium-term LCOEs (</a:t>
            </a:r>
            <a:r>
              <a:rPr lang="de-DE" sz="1800" b="1" dirty="0" err="1"/>
              <a:t>with</a:t>
            </a:r>
            <a:r>
              <a:rPr lang="de-DE" sz="1800" b="1" dirty="0"/>
              <a:t> </a:t>
            </a:r>
            <a:r>
              <a:rPr lang="de-DE" sz="1800" b="1" dirty="0" err="1"/>
              <a:t>adjustments</a:t>
            </a:r>
            <a:r>
              <a:rPr lang="de-DE" sz="1800" b="1" dirty="0"/>
              <a:t>) </a:t>
            </a:r>
            <a:r>
              <a:rPr lang="de-DE" sz="1800" b="1" dirty="0" err="1"/>
              <a:t>are</a:t>
            </a:r>
            <a:r>
              <a:rPr lang="de-DE" sz="1800" b="1" dirty="0"/>
              <a:t> </a:t>
            </a:r>
            <a:r>
              <a:rPr lang="de-DE" sz="1800" b="1" dirty="0" err="1"/>
              <a:t>likely</a:t>
            </a:r>
            <a:r>
              <a:rPr lang="de-DE" sz="1800" b="1" dirty="0"/>
              <a:t> </a:t>
            </a:r>
            <a:r>
              <a:rPr lang="de-DE" sz="1800" b="1" dirty="0" err="1"/>
              <a:t>to</a:t>
            </a:r>
            <a:r>
              <a:rPr lang="de-DE" sz="1800" b="1" dirty="0"/>
              <a:t> </a:t>
            </a:r>
            <a:r>
              <a:rPr lang="de-DE" sz="1800" b="1" dirty="0" err="1"/>
              <a:t>be</a:t>
            </a:r>
            <a:r>
              <a:rPr lang="de-DE" sz="1800" b="1" dirty="0"/>
              <a:t> </a:t>
            </a:r>
            <a:r>
              <a:rPr lang="de-DE" sz="1800" b="1" dirty="0" err="1"/>
              <a:t>key</a:t>
            </a:r>
            <a:r>
              <a:rPr lang="de-DE" sz="1800" b="1" dirty="0"/>
              <a:t> </a:t>
            </a:r>
            <a:r>
              <a:rPr lang="de-DE" sz="1800" b="1" dirty="0" err="1"/>
              <a:t>metric</a:t>
            </a:r>
            <a:r>
              <a:rPr lang="de-DE" sz="1800" b="1" dirty="0"/>
              <a:t> for plant </a:t>
            </a:r>
            <a:r>
              <a:rPr lang="de-DE" sz="1800" b="1" dirty="0" err="1"/>
              <a:t>choice</a:t>
            </a:r>
            <a:endParaRPr lang="en-GB" sz="1800" b="1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12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6943" y="8528"/>
            <a:ext cx="3095625" cy="147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564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>
            <p:custDataLst>
              <p:tags r:id="rId1"/>
            </p:custDataLst>
          </p:nvPr>
        </p:nvSpPr>
        <p:spPr bwMode="gray">
          <a:xfrm>
            <a:off x="684213" y="1556792"/>
            <a:ext cx="8208962" cy="79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90000" rtlCol="0" anchor="b"/>
          <a:lstStyle/>
          <a:p>
            <a:pPr>
              <a:buClr>
                <a:schemeClr val="tx2"/>
              </a:buClr>
            </a:pPr>
            <a:r>
              <a:rPr lang="en-US" sz="3600" b="1" dirty="0">
                <a:solidFill>
                  <a:schemeClr val="tx2"/>
                </a:solidFill>
              </a:rPr>
              <a:t>THANK YOU FOR </a:t>
            </a:r>
            <a:br>
              <a:rPr lang="en-US" sz="3600" b="1" dirty="0">
                <a:solidFill>
                  <a:schemeClr val="tx2"/>
                </a:solidFill>
              </a:rPr>
            </a:br>
            <a:r>
              <a:rPr lang="en-US" sz="3600" b="1" dirty="0">
                <a:solidFill>
                  <a:schemeClr val="tx2"/>
                </a:solidFill>
              </a:rPr>
              <a:t>YOUR ATTENTION</a:t>
            </a:r>
            <a:endParaRPr lang="en-GB" sz="3600" b="1" dirty="0">
              <a:solidFill>
                <a:schemeClr val="tx2"/>
              </a:solidFill>
            </a:endParaRPr>
          </a:p>
        </p:txBody>
      </p:sp>
      <p:cxnSp>
        <p:nvCxnSpPr>
          <p:cNvPr id="11" name="Gerade Verbindung 10"/>
          <p:cNvCxnSpPr/>
          <p:nvPr>
            <p:custDataLst>
              <p:tags r:id="rId2"/>
            </p:custDataLst>
          </p:nvPr>
        </p:nvCxnSpPr>
        <p:spPr bwMode="gray">
          <a:xfrm>
            <a:off x="0" y="2420888"/>
            <a:ext cx="500404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>
            <p:custDataLst>
              <p:tags r:id="rId3"/>
            </p:custDataLst>
          </p:nvPr>
        </p:nvSpPr>
        <p:spPr bwMode="gray">
          <a:xfrm>
            <a:off x="684213" y="2420888"/>
            <a:ext cx="8108403" cy="7920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90000" rtlCol="0" anchor="ctr"/>
          <a:lstStyle/>
          <a:p>
            <a:pPr>
              <a:buClr>
                <a:schemeClr val="tx2"/>
              </a:buClr>
            </a:pPr>
            <a:r>
              <a:rPr lang="en-US" sz="2400" dirty="0">
                <a:solidFill>
                  <a:schemeClr val="tx1"/>
                </a:solidFill>
              </a:rPr>
              <a:t>Graham.Weale@RUB.com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>
            <p:custDataLst>
              <p:tags r:id="rId4"/>
            </p:custDataLst>
          </p:nvPr>
        </p:nvSpPr>
        <p:spPr bwMode="gray">
          <a:xfrm>
            <a:off x="5004048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tx2"/>
              </a:buClr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3876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/>
              <a:t>Agenda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de-DE" dirty="0"/>
              <a:t>Who </a:t>
            </a:r>
            <a:r>
              <a:rPr lang="de-DE" dirty="0" err="1"/>
              <a:t>uses</a:t>
            </a:r>
            <a:r>
              <a:rPr lang="de-DE" dirty="0"/>
              <a:t> LCOEs and </a:t>
            </a:r>
            <a:r>
              <a:rPr lang="de-DE" dirty="0" err="1"/>
              <a:t>how</a:t>
            </a:r>
            <a:r>
              <a:rPr lang="de-DE" dirty="0"/>
              <a:t>?</a:t>
            </a:r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de-DE" dirty="0"/>
              <a:t>Short-term </a:t>
            </a:r>
            <a:r>
              <a:rPr lang="de-DE" dirty="0" err="1"/>
              <a:t>relevance</a:t>
            </a:r>
            <a:endParaRPr lang="de-DE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de-DE" dirty="0"/>
              <a:t>Long-term </a:t>
            </a:r>
            <a:r>
              <a:rPr lang="de-DE" dirty="0" err="1"/>
              <a:t>relevance</a:t>
            </a:r>
            <a:r>
              <a:rPr lang="de-DE" dirty="0"/>
              <a:t> – </a:t>
            </a:r>
            <a:r>
              <a:rPr lang="de-DE" dirty="0" err="1"/>
              <a:t>looking</a:t>
            </a:r>
            <a:r>
              <a:rPr lang="de-DE" dirty="0"/>
              <a:t> </a:t>
            </a:r>
            <a:r>
              <a:rPr lang="de-DE" dirty="0" err="1"/>
              <a:t>beyond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markets</a:t>
            </a:r>
            <a:endParaRPr lang="de-DE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de-DE" dirty="0"/>
              <a:t>Will LCOEs </a:t>
            </a:r>
            <a:r>
              <a:rPr lang="de-DE" dirty="0" err="1"/>
              <a:t>continu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 fo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4827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/>
              <a:t>1. Who </a:t>
            </a:r>
            <a:r>
              <a:rPr lang="de-DE" dirty="0" err="1"/>
              <a:t>uses</a:t>
            </a:r>
            <a:r>
              <a:rPr lang="de-DE" dirty="0"/>
              <a:t> LCOE and </a:t>
            </a:r>
            <a:r>
              <a:rPr lang="de-DE" dirty="0" err="1"/>
              <a:t>how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4756150"/>
          </a:xfrm>
        </p:spPr>
        <p:txBody>
          <a:bodyPr>
            <a:normAutofit/>
          </a:bodyPr>
          <a:lstStyle/>
          <a:p>
            <a:pPr>
              <a:spcAft>
                <a:spcPts val="2100"/>
              </a:spcAft>
              <a:buFont typeface="Wingdings" panose="05000000000000000000" pitchFamily="2" charset="2"/>
              <a:buChar char="§"/>
            </a:pPr>
            <a:r>
              <a:rPr lang="de-DE" sz="1800" dirty="0" err="1"/>
              <a:t>Governments</a:t>
            </a:r>
            <a:r>
              <a:rPr lang="de-DE" sz="1800" dirty="0"/>
              <a:t>, </a:t>
            </a:r>
            <a:r>
              <a:rPr lang="de-DE" sz="1800" dirty="0" err="1"/>
              <a:t>as</a:t>
            </a:r>
            <a:r>
              <a:rPr lang="de-DE" sz="1800" dirty="0"/>
              <a:t> </a:t>
            </a:r>
            <a:r>
              <a:rPr lang="de-DE" sz="1800" dirty="0" err="1"/>
              <a:t>as</a:t>
            </a:r>
            <a:r>
              <a:rPr lang="de-DE" sz="1800" dirty="0"/>
              <a:t> </a:t>
            </a:r>
            <a:r>
              <a:rPr lang="de-DE" sz="1800" dirty="0" err="1"/>
              <a:t>key</a:t>
            </a:r>
            <a:r>
              <a:rPr lang="de-DE" sz="1800" dirty="0"/>
              <a:t> </a:t>
            </a:r>
            <a:r>
              <a:rPr lang="de-DE" sz="1800" dirty="0" err="1"/>
              <a:t>metric</a:t>
            </a:r>
            <a:r>
              <a:rPr lang="de-DE" sz="1800" dirty="0"/>
              <a:t> for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cos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energy</a:t>
            </a:r>
            <a:r>
              <a:rPr lang="de-DE" sz="1800" dirty="0"/>
              <a:t> </a:t>
            </a:r>
            <a:r>
              <a:rPr lang="de-DE" sz="1800" dirty="0" err="1"/>
              <a:t>transitions</a:t>
            </a:r>
            <a:endParaRPr lang="de-DE" sz="1800" dirty="0"/>
          </a:p>
          <a:p>
            <a:pPr lvl="1">
              <a:spcAft>
                <a:spcPts val="2100"/>
              </a:spcAft>
            </a:pPr>
            <a:r>
              <a:rPr lang="de-DE" sz="1800" dirty="0"/>
              <a:t>Relevant so </a:t>
            </a:r>
            <a:r>
              <a:rPr lang="de-DE" sz="1800" dirty="0" err="1"/>
              <a:t>long</a:t>
            </a:r>
            <a:r>
              <a:rPr lang="de-DE" sz="1800" dirty="0"/>
              <a:t> </a:t>
            </a:r>
            <a:r>
              <a:rPr lang="de-DE" sz="1800" dirty="0" err="1"/>
              <a:t>as</a:t>
            </a:r>
            <a:r>
              <a:rPr lang="de-DE" sz="1800" dirty="0"/>
              <a:t> </a:t>
            </a:r>
            <a:r>
              <a:rPr lang="de-DE" sz="1800" dirty="0" err="1"/>
              <a:t>focus</a:t>
            </a:r>
            <a:r>
              <a:rPr lang="de-DE" sz="1800" dirty="0"/>
              <a:t> </a:t>
            </a:r>
            <a:r>
              <a:rPr lang="de-DE" sz="1800" dirty="0" err="1"/>
              <a:t>is</a:t>
            </a:r>
            <a:r>
              <a:rPr lang="de-DE" sz="1800" dirty="0"/>
              <a:t> on </a:t>
            </a:r>
            <a:r>
              <a:rPr lang="de-DE" sz="1800" dirty="0" err="1"/>
              <a:t>cost</a:t>
            </a:r>
            <a:r>
              <a:rPr lang="de-DE" sz="1800" dirty="0"/>
              <a:t> / MWh</a:t>
            </a:r>
          </a:p>
          <a:p>
            <a:pPr lvl="1">
              <a:spcAft>
                <a:spcPts val="2100"/>
              </a:spcAft>
            </a:pPr>
            <a:r>
              <a:rPr lang="de-DE" sz="1800" dirty="0" err="1"/>
              <a:t>Used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choice</a:t>
            </a:r>
            <a:r>
              <a:rPr lang="de-DE" sz="1800" dirty="0"/>
              <a:t> </a:t>
            </a:r>
            <a:r>
              <a:rPr lang="de-DE" sz="1800" dirty="0" err="1"/>
              <a:t>between</a:t>
            </a:r>
            <a:r>
              <a:rPr lang="de-DE" sz="1800" dirty="0"/>
              <a:t> different </a:t>
            </a:r>
            <a:r>
              <a:rPr lang="de-DE" sz="1800" dirty="0" err="1"/>
              <a:t>typ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plants</a:t>
            </a:r>
            <a:endParaRPr lang="de-DE" sz="1800" dirty="0"/>
          </a:p>
          <a:p>
            <a:pPr lvl="1">
              <a:spcAft>
                <a:spcPts val="2100"/>
              </a:spcAft>
            </a:pPr>
            <a:r>
              <a:rPr lang="de-DE" sz="1800" dirty="0" err="1"/>
              <a:t>Principal</a:t>
            </a:r>
            <a:r>
              <a:rPr lang="de-DE" sz="1800" dirty="0"/>
              <a:t> </a:t>
            </a:r>
            <a:r>
              <a:rPr lang="de-DE" sz="1800" dirty="0" err="1"/>
              <a:t>metric</a:t>
            </a:r>
            <a:r>
              <a:rPr lang="de-DE" sz="1800" dirty="0"/>
              <a:t> for </a:t>
            </a:r>
            <a:r>
              <a:rPr lang="de-DE" sz="1800" dirty="0" err="1"/>
              <a:t>auctions</a:t>
            </a:r>
            <a:endParaRPr lang="de-DE" sz="1800" dirty="0"/>
          </a:p>
          <a:p>
            <a:pPr>
              <a:spcAft>
                <a:spcPts val="21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Project </a:t>
            </a:r>
            <a:r>
              <a:rPr lang="de-DE" sz="1800" dirty="0" err="1"/>
              <a:t>developers</a:t>
            </a:r>
            <a:r>
              <a:rPr lang="de-DE" sz="1800" dirty="0"/>
              <a:t> and utilities/</a:t>
            </a:r>
            <a:r>
              <a:rPr lang="de-DE" sz="1800" dirty="0" err="1"/>
              <a:t>customers</a:t>
            </a:r>
            <a:r>
              <a:rPr lang="de-DE" sz="1800" dirty="0"/>
              <a:t> </a:t>
            </a:r>
            <a:r>
              <a:rPr lang="de-DE" sz="1800" dirty="0" err="1"/>
              <a:t>signing</a:t>
            </a:r>
            <a:r>
              <a:rPr lang="de-DE" sz="1800" dirty="0"/>
              <a:t> PPAs on </a:t>
            </a:r>
            <a:r>
              <a:rPr lang="de-DE" sz="1800" dirty="0" err="1"/>
              <a:t>fixed</a:t>
            </a:r>
            <a:r>
              <a:rPr lang="de-DE" sz="1800" dirty="0"/>
              <a:t> </a:t>
            </a:r>
            <a:r>
              <a:rPr lang="de-DE" sz="1800" dirty="0" err="1"/>
              <a:t>cost</a:t>
            </a:r>
            <a:r>
              <a:rPr lang="de-DE" sz="1800" dirty="0"/>
              <a:t> </a:t>
            </a:r>
            <a:r>
              <a:rPr lang="de-DE" sz="1800" dirty="0" err="1"/>
              <a:t>basis</a:t>
            </a:r>
            <a:endParaRPr lang="de-DE" sz="1800" dirty="0"/>
          </a:p>
          <a:p>
            <a:pPr lvl="1">
              <a:spcAft>
                <a:spcPts val="2100"/>
              </a:spcAft>
            </a:pPr>
            <a:r>
              <a:rPr lang="de-DE" sz="1800" dirty="0"/>
              <a:t>Limited PPAs in Europe, not all </a:t>
            </a:r>
            <a:r>
              <a:rPr lang="de-DE" sz="1800" dirty="0" err="1"/>
              <a:t>fixed</a:t>
            </a:r>
            <a:r>
              <a:rPr lang="de-DE" sz="1800" dirty="0"/>
              <a:t> </a:t>
            </a:r>
            <a:r>
              <a:rPr lang="de-DE" sz="1800" dirty="0" err="1"/>
              <a:t>cost</a:t>
            </a:r>
            <a:endParaRPr lang="de-DE" sz="1800" dirty="0"/>
          </a:p>
          <a:p>
            <a:pPr lvl="1">
              <a:spcAft>
                <a:spcPts val="2100"/>
              </a:spcAft>
            </a:pPr>
            <a:r>
              <a:rPr lang="de-DE" sz="1800" dirty="0"/>
              <a:t>US Wind PPAs at $ 20-25/MWh (</a:t>
            </a:r>
            <a:r>
              <a:rPr lang="de-DE" sz="1800" dirty="0" err="1"/>
              <a:t>helped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</a:t>
            </a:r>
            <a:r>
              <a:rPr lang="de-DE" sz="1800" dirty="0" err="1"/>
              <a:t>production</a:t>
            </a:r>
            <a:r>
              <a:rPr lang="de-DE" sz="1800" dirty="0"/>
              <a:t> </a:t>
            </a:r>
            <a:r>
              <a:rPr lang="de-DE" sz="1800" dirty="0" err="1"/>
              <a:t>tax</a:t>
            </a:r>
            <a:r>
              <a:rPr lang="de-DE" sz="1800" dirty="0"/>
              <a:t> </a:t>
            </a:r>
            <a:r>
              <a:rPr lang="de-DE" sz="1800" dirty="0" err="1"/>
              <a:t>credits</a:t>
            </a:r>
            <a:r>
              <a:rPr lang="de-DE" sz="1800" dirty="0"/>
              <a:t>)</a:t>
            </a:r>
          </a:p>
          <a:p>
            <a:pPr lvl="1">
              <a:spcAft>
                <a:spcPts val="2100"/>
              </a:spcAft>
            </a:pPr>
            <a:r>
              <a:rPr lang="de-DE" sz="1800" dirty="0"/>
              <a:t>US Solar PPA at $ 37/MWh (</a:t>
            </a:r>
            <a:r>
              <a:rPr lang="de-DE" sz="1800" dirty="0" err="1"/>
              <a:t>helped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</a:t>
            </a:r>
            <a:r>
              <a:rPr lang="de-DE" sz="1800" dirty="0" err="1"/>
              <a:t>investment</a:t>
            </a:r>
            <a:r>
              <a:rPr lang="de-DE" sz="1800" dirty="0"/>
              <a:t> </a:t>
            </a:r>
            <a:r>
              <a:rPr lang="de-DE" sz="1800" dirty="0" err="1"/>
              <a:t>tax</a:t>
            </a:r>
            <a:r>
              <a:rPr lang="de-DE" sz="1800" dirty="0"/>
              <a:t> </a:t>
            </a:r>
            <a:r>
              <a:rPr lang="de-DE" sz="1800" dirty="0" err="1"/>
              <a:t>credits</a:t>
            </a:r>
            <a:r>
              <a:rPr lang="de-DE" sz="1800" dirty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3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6144" y="17710"/>
            <a:ext cx="2448272" cy="162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94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35280" cy="1143000"/>
          </a:xfrm>
        </p:spPr>
        <p:txBody>
          <a:bodyPr>
            <a:normAutofit/>
          </a:bodyPr>
          <a:lstStyle/>
          <a:p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Germany (2014): LCOEs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lan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average</a:t>
            </a:r>
            <a:r>
              <a:rPr lang="de-DE" dirty="0"/>
              <a:t> RES </a:t>
            </a:r>
            <a:r>
              <a:rPr lang="de-DE" dirty="0" err="1"/>
              <a:t>costs</a:t>
            </a:r>
            <a:r>
              <a:rPr lang="de-DE" dirty="0"/>
              <a:t> - </a:t>
            </a:r>
            <a:r>
              <a:rPr lang="de-DE" dirty="0" err="1"/>
              <a:t>ai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€12cts/kWh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4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784" y="1567372"/>
            <a:ext cx="6106398" cy="463495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1725526" y="1772816"/>
            <a:ext cx="55446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EEG Renumeration system for new </a:t>
            </a:r>
            <a:r>
              <a:rPr lang="de-DE" sz="1600" b="1" dirty="0" err="1"/>
              <a:t>plants</a:t>
            </a:r>
            <a:r>
              <a:rPr lang="de-DE" sz="1600" b="1" dirty="0"/>
              <a:t> </a:t>
            </a:r>
            <a:r>
              <a:rPr lang="de-DE" sz="1600" b="1" dirty="0" err="1"/>
              <a:t>from</a:t>
            </a:r>
            <a:r>
              <a:rPr lang="de-DE" sz="1600" b="1" dirty="0"/>
              <a:t> 2015</a:t>
            </a:r>
            <a:endParaRPr lang="en-GB" sz="1600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3813758" y="3284984"/>
            <a:ext cx="302433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Average </a:t>
            </a:r>
            <a:r>
              <a:rPr lang="de-DE" sz="1400" b="1" dirty="0" err="1"/>
              <a:t>depends</a:t>
            </a:r>
            <a:r>
              <a:rPr lang="de-DE" sz="1400" b="1" dirty="0"/>
              <a:t> upon mix </a:t>
            </a:r>
            <a:r>
              <a:rPr lang="de-DE" sz="1400" b="1" dirty="0" err="1"/>
              <a:t>of</a:t>
            </a:r>
            <a:r>
              <a:rPr lang="de-DE" sz="1400" b="1" dirty="0"/>
              <a:t> RES </a:t>
            </a:r>
            <a:r>
              <a:rPr lang="de-DE" sz="1400" b="1" dirty="0" err="1"/>
              <a:t>technology</a:t>
            </a:r>
            <a:endParaRPr lang="en-GB" sz="1400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1877926" y="5805264"/>
            <a:ext cx="511256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err="1"/>
              <a:t>Production</a:t>
            </a:r>
            <a:r>
              <a:rPr lang="de-DE" sz="1200" b="1" dirty="0"/>
              <a:t> in TWh</a:t>
            </a:r>
            <a:endParaRPr lang="en-GB" sz="1200" b="1" dirty="0"/>
          </a:p>
        </p:txBody>
      </p:sp>
      <p:sp>
        <p:nvSpPr>
          <p:cNvPr id="11" name="Textfeld 10"/>
          <p:cNvSpPr txBox="1"/>
          <p:nvPr/>
        </p:nvSpPr>
        <p:spPr>
          <a:xfrm rot="16200000">
            <a:off x="564523" y="4021923"/>
            <a:ext cx="243150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 err="1"/>
              <a:t>Remuneration</a:t>
            </a:r>
            <a:r>
              <a:rPr lang="de-DE" sz="1100" b="1" dirty="0"/>
              <a:t> in €</a:t>
            </a:r>
            <a:r>
              <a:rPr lang="de-DE" sz="1100" b="1" dirty="0" err="1"/>
              <a:t>cts</a:t>
            </a:r>
            <a:r>
              <a:rPr lang="de-DE" sz="1100" b="1" dirty="0"/>
              <a:t>/kWh</a:t>
            </a:r>
            <a:endParaRPr lang="en-GB" sz="1100" b="1" dirty="0"/>
          </a:p>
        </p:txBody>
      </p:sp>
    </p:spTree>
    <p:extLst>
      <p:ext uri="{BB962C8B-B14F-4D97-AF65-F5344CB8AC3E}">
        <p14:creationId xmlns:p14="http://schemas.microsoft.com/office/powerpoint/2010/main" val="1873795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err="1"/>
              <a:t>LCOE's</a:t>
            </a:r>
            <a:r>
              <a:rPr lang="de-DE" dirty="0"/>
              <a:t> and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limitations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5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9950" y="-3320"/>
            <a:ext cx="3779013" cy="1776136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95596"/>
            <a:ext cx="8291264" cy="4757740"/>
          </a:xfrm>
        </p:spPr>
        <p:txBody>
          <a:bodyPr>
            <a:normAutofit/>
          </a:bodyPr>
          <a:lstStyle/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LCOE</a:t>
            </a:r>
            <a:r>
              <a:rPr lang="de-DE" sz="1800" dirty="0"/>
              <a:t> – well-</a:t>
            </a:r>
            <a:r>
              <a:rPr lang="de-DE" sz="1800" dirty="0" err="1"/>
              <a:t>established</a:t>
            </a:r>
            <a:r>
              <a:rPr lang="de-DE" sz="1800" dirty="0"/>
              <a:t> </a:t>
            </a:r>
            <a:r>
              <a:rPr lang="de-DE" sz="1800" dirty="0" err="1"/>
              <a:t>parameter</a:t>
            </a:r>
            <a:r>
              <a:rPr lang="de-DE" sz="1800" dirty="0"/>
              <a:t> for </a:t>
            </a:r>
            <a:r>
              <a:rPr lang="de-DE" sz="1800" dirty="0" err="1"/>
              <a:t>full</a:t>
            </a:r>
            <a:r>
              <a:rPr lang="de-DE" sz="1800" dirty="0"/>
              <a:t> </a:t>
            </a:r>
            <a:r>
              <a:rPr lang="de-DE" sz="1800" b="1" dirty="0"/>
              <a:t>ex ante </a:t>
            </a:r>
            <a:r>
              <a:rPr lang="de-DE" sz="1800" dirty="0" err="1"/>
              <a:t>cos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electricity</a:t>
            </a:r>
            <a:endParaRPr lang="de-DE" sz="1800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dirty="0" err="1"/>
              <a:t>Calculates</a:t>
            </a:r>
            <a:r>
              <a:rPr lang="de-DE" sz="1800" dirty="0"/>
              <a:t> </a:t>
            </a:r>
            <a:r>
              <a:rPr lang="de-DE" sz="1800" b="1" dirty="0" err="1"/>
              <a:t>cost</a:t>
            </a:r>
            <a:r>
              <a:rPr lang="de-DE" sz="1800" dirty="0"/>
              <a:t> </a:t>
            </a:r>
            <a:r>
              <a:rPr lang="de-DE" sz="1800" dirty="0" err="1"/>
              <a:t>rather</a:t>
            </a:r>
            <a:r>
              <a:rPr lang="de-DE" sz="1800" dirty="0"/>
              <a:t> </a:t>
            </a:r>
            <a:r>
              <a:rPr lang="de-DE" sz="1800" dirty="0" err="1"/>
              <a:t>than</a:t>
            </a:r>
            <a:r>
              <a:rPr lang="de-DE" sz="1800" dirty="0"/>
              <a:t> </a:t>
            </a:r>
            <a:r>
              <a:rPr lang="de-DE" sz="1800" b="1" dirty="0" err="1"/>
              <a:t>valu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ower </a:t>
            </a:r>
            <a:r>
              <a:rPr lang="de-DE" sz="1800" dirty="0" err="1"/>
              <a:t>produced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 err="1"/>
              <a:t>Cost</a:t>
            </a:r>
            <a:r>
              <a:rPr lang="de-DE" sz="1800" dirty="0"/>
              <a:t> and </a:t>
            </a:r>
            <a:r>
              <a:rPr lang="de-DE" sz="1800" dirty="0" err="1"/>
              <a:t>value</a:t>
            </a:r>
            <a:r>
              <a:rPr lang="de-DE" sz="1800" dirty="0"/>
              <a:t> will </a:t>
            </a:r>
            <a:r>
              <a:rPr lang="de-DE" sz="1800" dirty="0" err="1"/>
              <a:t>differ</a:t>
            </a:r>
            <a:r>
              <a:rPr lang="de-DE" sz="1800" dirty="0"/>
              <a:t> – </a:t>
            </a:r>
            <a:r>
              <a:rPr lang="de-DE" sz="1800" dirty="0" err="1"/>
              <a:t>more</a:t>
            </a:r>
            <a:r>
              <a:rPr lang="de-DE" sz="1800" dirty="0"/>
              <a:t> for non-</a:t>
            </a:r>
            <a:r>
              <a:rPr lang="de-DE" sz="1800" dirty="0" err="1"/>
              <a:t>dispatchable</a:t>
            </a:r>
            <a:r>
              <a:rPr lang="de-DE" sz="1800" dirty="0"/>
              <a:t> </a:t>
            </a:r>
            <a:r>
              <a:rPr lang="de-DE" sz="1800" dirty="0" err="1"/>
              <a:t>plants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/>
              <a:t>Storage and </a:t>
            </a:r>
            <a:r>
              <a:rPr lang="de-DE" sz="1800" dirty="0" err="1"/>
              <a:t>balancing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 </a:t>
            </a:r>
            <a:r>
              <a:rPr lang="de-DE" sz="1800" dirty="0" err="1"/>
              <a:t>may</a:t>
            </a:r>
            <a:r>
              <a:rPr lang="de-DE" sz="1800" dirty="0"/>
              <a:t> </a:t>
            </a:r>
            <a:r>
              <a:rPr lang="de-DE" sz="1800" dirty="0" err="1"/>
              <a:t>need</a:t>
            </a:r>
            <a:r>
              <a:rPr lang="de-DE" sz="1800" dirty="0"/>
              <a:t> </a:t>
            </a:r>
            <a:r>
              <a:rPr lang="de-DE" sz="1800" dirty="0" err="1"/>
              <a:t>adding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/>
              <a:t>Other </a:t>
            </a:r>
            <a:r>
              <a:rPr lang="de-DE" sz="1800" dirty="0" err="1"/>
              <a:t>than</a:t>
            </a:r>
            <a:r>
              <a:rPr lang="de-DE" sz="1800" dirty="0"/>
              <a:t> </a:t>
            </a:r>
            <a:r>
              <a:rPr lang="de-DE" sz="1800" dirty="0" err="1"/>
              <a:t>through</a:t>
            </a:r>
            <a:r>
              <a:rPr lang="de-DE" sz="1800" dirty="0"/>
              <a:t> </a:t>
            </a:r>
            <a:r>
              <a:rPr lang="de-DE" sz="1800" dirty="0" err="1"/>
              <a:t>carbon</a:t>
            </a:r>
            <a:r>
              <a:rPr lang="de-DE" sz="1800" dirty="0"/>
              <a:t> </a:t>
            </a:r>
            <a:r>
              <a:rPr lang="de-DE" sz="1800" dirty="0" err="1"/>
              <a:t>price</a:t>
            </a:r>
            <a:r>
              <a:rPr lang="de-DE" sz="1800" dirty="0"/>
              <a:t> </a:t>
            </a:r>
            <a:r>
              <a:rPr lang="de-DE" sz="1800" dirty="0" err="1"/>
              <a:t>does</a:t>
            </a:r>
            <a:r>
              <a:rPr lang="de-DE" sz="1800" dirty="0"/>
              <a:t> not </a:t>
            </a:r>
            <a:r>
              <a:rPr lang="de-DE" sz="1800" dirty="0" err="1"/>
              <a:t>reflect</a:t>
            </a:r>
            <a:r>
              <a:rPr lang="de-DE" sz="1800" dirty="0"/>
              <a:t> environmental </a:t>
            </a:r>
            <a:r>
              <a:rPr lang="de-DE" sz="1800" dirty="0" err="1"/>
              <a:t>costs</a:t>
            </a:r>
            <a:endParaRPr lang="de-DE" sz="1800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LCOE </a:t>
            </a:r>
            <a:r>
              <a:rPr lang="de-DE" sz="1800" dirty="0" err="1"/>
              <a:t>depends</a:t>
            </a:r>
            <a:r>
              <a:rPr lang="de-DE" sz="1800" dirty="0"/>
              <a:t> on </a:t>
            </a:r>
            <a:r>
              <a:rPr lang="de-DE" sz="1800" dirty="0" err="1"/>
              <a:t>input</a:t>
            </a:r>
            <a:r>
              <a:rPr lang="de-DE" sz="1800" dirty="0"/>
              <a:t> </a:t>
            </a:r>
            <a:r>
              <a:rPr lang="de-DE" sz="1800" dirty="0" err="1"/>
              <a:t>assumptions</a:t>
            </a:r>
            <a:r>
              <a:rPr lang="de-DE" sz="1800" dirty="0"/>
              <a:t> (not all </a:t>
            </a:r>
            <a:r>
              <a:rPr lang="de-DE" sz="1800" dirty="0" err="1"/>
              <a:t>known</a:t>
            </a:r>
            <a:r>
              <a:rPr lang="de-DE" sz="1800" dirty="0"/>
              <a:t> </a:t>
            </a:r>
            <a:r>
              <a:rPr lang="de-DE" sz="1800" dirty="0" err="1"/>
              <a:t>exactly</a:t>
            </a:r>
            <a:r>
              <a:rPr lang="de-DE" sz="1800" dirty="0"/>
              <a:t> in </a:t>
            </a:r>
            <a:r>
              <a:rPr lang="de-DE" sz="1800" dirty="0" err="1"/>
              <a:t>advance</a:t>
            </a:r>
            <a:r>
              <a:rPr lang="de-DE" sz="1800" dirty="0"/>
              <a:t>) </a:t>
            </a:r>
          </a:p>
          <a:p>
            <a:pPr lvl="1">
              <a:spcAft>
                <a:spcPts val="1800"/>
              </a:spcAft>
            </a:pPr>
            <a:r>
              <a:rPr lang="de-DE" sz="1800" dirty="0"/>
              <a:t>Out-turn will </a:t>
            </a:r>
            <a:r>
              <a:rPr lang="de-DE" sz="1800" dirty="0" err="1"/>
              <a:t>always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different </a:t>
            </a:r>
            <a:r>
              <a:rPr lang="de-DE" sz="1800" dirty="0" err="1"/>
              <a:t>from</a:t>
            </a:r>
            <a:r>
              <a:rPr lang="de-DE" sz="1800" dirty="0"/>
              <a:t> plan!</a:t>
            </a:r>
          </a:p>
          <a:p>
            <a:pPr lvl="1">
              <a:spcAft>
                <a:spcPts val="1800"/>
              </a:spcAft>
            </a:pPr>
            <a:r>
              <a:rPr lang="de-DE" sz="1800" dirty="0"/>
              <a:t>But in </a:t>
            </a:r>
            <a:r>
              <a:rPr lang="de-DE" sz="1800" dirty="0" err="1"/>
              <a:t>auction</a:t>
            </a:r>
            <a:r>
              <a:rPr lang="de-DE" sz="1800" dirty="0"/>
              <a:t> (</a:t>
            </a:r>
            <a:r>
              <a:rPr lang="de-DE" sz="1800" dirty="0" err="1"/>
              <a:t>or</a:t>
            </a:r>
            <a:r>
              <a:rPr lang="de-DE" sz="1800" dirty="0"/>
              <a:t> PPA) </a:t>
            </a:r>
            <a:r>
              <a:rPr lang="de-DE" sz="1800" dirty="0" err="1"/>
              <a:t>determines</a:t>
            </a:r>
            <a:r>
              <a:rPr lang="de-DE" sz="1800" dirty="0"/>
              <a:t> </a:t>
            </a:r>
            <a:r>
              <a:rPr lang="de-DE" sz="1800" dirty="0" err="1"/>
              <a:t>what</a:t>
            </a:r>
            <a:r>
              <a:rPr lang="de-DE" sz="1800" dirty="0"/>
              <a:t> </a:t>
            </a:r>
            <a:r>
              <a:rPr lang="de-DE" sz="1800" dirty="0" err="1"/>
              <a:t>operator</a:t>
            </a:r>
            <a:r>
              <a:rPr lang="de-DE" sz="1800" dirty="0"/>
              <a:t> </a:t>
            </a:r>
            <a:r>
              <a:rPr lang="de-DE" sz="1800" dirty="0" err="1"/>
              <a:t>is</a:t>
            </a:r>
            <a:r>
              <a:rPr lang="de-DE" sz="1800" dirty="0"/>
              <a:t> </a:t>
            </a:r>
            <a:r>
              <a:rPr lang="de-DE" sz="1800" dirty="0" err="1"/>
              <a:t>paid</a:t>
            </a:r>
            <a:r>
              <a:rPr lang="de-DE" sz="1800" dirty="0"/>
              <a:t> / MWh</a:t>
            </a:r>
          </a:p>
          <a:p>
            <a:pPr lvl="1">
              <a:spcAft>
                <a:spcPts val="1800"/>
              </a:spcAft>
            </a:pPr>
            <a:r>
              <a:rPr lang="de-DE" sz="1800" dirty="0" err="1"/>
              <a:t>Cos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capital</a:t>
            </a:r>
            <a:r>
              <a:rPr lang="de-DE" sz="1800" dirty="0"/>
              <a:t> (r) </a:t>
            </a:r>
            <a:r>
              <a:rPr lang="de-DE" sz="1800" dirty="0" err="1"/>
              <a:t>is</a:t>
            </a:r>
            <a:r>
              <a:rPr lang="de-DE" sz="1800" dirty="0"/>
              <a:t> </a:t>
            </a:r>
            <a:r>
              <a:rPr lang="de-DE" sz="1800" dirty="0" err="1"/>
              <a:t>crucial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201536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457199" y="274638"/>
            <a:ext cx="8229601" cy="1143000"/>
          </a:xfrm>
        </p:spPr>
        <p:txBody>
          <a:bodyPr>
            <a:normAutofit/>
          </a:bodyPr>
          <a:lstStyle/>
          <a:p>
            <a:r>
              <a:rPr lang="de-DE" dirty="0"/>
              <a:t>Impact </a:t>
            </a:r>
            <a:r>
              <a:rPr lang="de-DE" dirty="0" err="1"/>
              <a:t>of</a:t>
            </a:r>
            <a:r>
              <a:rPr lang="de-DE" dirty="0"/>
              <a:t> wind </a:t>
            </a:r>
            <a:r>
              <a:rPr lang="de-DE" dirty="0" err="1"/>
              <a:t>energy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ot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(DE, 2015) - </a:t>
            </a:r>
            <a:r>
              <a:rPr lang="de-DE" dirty="0" err="1"/>
              <a:t>increases</a:t>
            </a:r>
            <a:r>
              <a:rPr lang="de-DE" dirty="0"/>
              <a:t> </a:t>
            </a:r>
            <a:r>
              <a:rPr lang="de-DE" dirty="0" err="1"/>
              <a:t>disconnect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 and LCOE</a:t>
            </a: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59337" y="6041159"/>
            <a:ext cx="4703532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ts val="2200"/>
              </a:lnSpc>
              <a:buClr>
                <a:srgbClr val="7E1C4B"/>
              </a:buClr>
            </a:pPr>
            <a:r>
              <a:rPr lang="de-DE" sz="1000" dirty="0">
                <a:solidFill>
                  <a:srgbClr val="000000"/>
                </a:solidFill>
              </a:rPr>
              <a:t>Source: Übertragungsnetzbetreiber, EPEX Spot, BDEW (eigene Berechnungen)</a:t>
            </a: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413976160"/>
              </p:ext>
            </p:extLst>
          </p:nvPr>
        </p:nvGraphicFramePr>
        <p:xfrm>
          <a:off x="56147" y="1732828"/>
          <a:ext cx="8856983" cy="443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"/>
          <p:cNvSpPr txBox="1"/>
          <p:nvPr/>
        </p:nvSpPr>
        <p:spPr>
          <a:xfrm>
            <a:off x="1187624" y="3095769"/>
            <a:ext cx="914400" cy="241176"/>
          </a:xfrm>
          <a:prstGeom prst="rect">
            <a:avLst/>
          </a:prstGeom>
          <a:solidFill>
            <a:srgbClr val="FFFF00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>
                <a:solidFill>
                  <a:schemeClr val="accent1"/>
                </a:solidFill>
              </a:rPr>
              <a:t>22 €/MWh</a:t>
            </a:r>
          </a:p>
        </p:txBody>
      </p:sp>
      <p:sp>
        <p:nvSpPr>
          <p:cNvPr id="12" name="Textfeld 1"/>
          <p:cNvSpPr txBox="1"/>
          <p:nvPr/>
        </p:nvSpPr>
        <p:spPr>
          <a:xfrm>
            <a:off x="7113984" y="2827784"/>
            <a:ext cx="914400" cy="241176"/>
          </a:xfrm>
          <a:prstGeom prst="rect">
            <a:avLst/>
          </a:prstGeom>
          <a:solidFill>
            <a:srgbClr val="FFFF00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>
                <a:solidFill>
                  <a:schemeClr val="accent1"/>
                </a:solidFill>
              </a:rPr>
              <a:t>42 €/MWh</a:t>
            </a:r>
          </a:p>
        </p:txBody>
      </p:sp>
      <p:sp>
        <p:nvSpPr>
          <p:cNvPr id="13" name="Textfeld 1"/>
          <p:cNvSpPr txBox="1"/>
          <p:nvPr/>
        </p:nvSpPr>
        <p:spPr>
          <a:xfrm>
            <a:off x="1254789" y="1976973"/>
            <a:ext cx="914400" cy="241176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accent2"/>
                </a:solidFill>
              </a:rPr>
              <a:t>36.955 MW (max. </a:t>
            </a:r>
            <a:r>
              <a:rPr lang="de-DE" sz="1400" b="1" dirty="0" err="1">
                <a:solidFill>
                  <a:schemeClr val="accent2"/>
                </a:solidFill>
              </a:rPr>
              <a:t>production</a:t>
            </a:r>
            <a:r>
              <a:rPr lang="de-DE" sz="1400" b="1" dirty="0">
                <a:solidFill>
                  <a:schemeClr val="accent2"/>
                </a:solidFill>
              </a:rPr>
              <a:t>)</a:t>
            </a:r>
          </a:p>
        </p:txBody>
      </p:sp>
      <p:sp>
        <p:nvSpPr>
          <p:cNvPr id="14" name="Textfeld 1"/>
          <p:cNvSpPr txBox="1"/>
          <p:nvPr/>
        </p:nvSpPr>
        <p:spPr>
          <a:xfrm>
            <a:off x="6228184" y="3861048"/>
            <a:ext cx="1468544" cy="216024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accent2"/>
                </a:solidFill>
              </a:rPr>
              <a:t>177 MW  (min. </a:t>
            </a:r>
            <a:r>
              <a:rPr lang="de-DE" sz="1400" b="1" dirty="0" err="1">
                <a:solidFill>
                  <a:schemeClr val="accent2"/>
                </a:solidFill>
              </a:rPr>
              <a:t>prod</a:t>
            </a:r>
            <a:r>
              <a:rPr lang="de-DE" sz="1400" b="1" dirty="0">
                <a:solidFill>
                  <a:schemeClr val="accent2"/>
                </a:solidFill>
              </a:rPr>
              <a:t>.)</a:t>
            </a:r>
          </a:p>
        </p:txBody>
      </p:sp>
      <p:cxnSp>
        <p:nvCxnSpPr>
          <p:cNvPr id="8" name="Gerade Verbindung 7"/>
          <p:cNvCxnSpPr/>
          <p:nvPr/>
        </p:nvCxnSpPr>
        <p:spPr bwMode="auto">
          <a:xfrm>
            <a:off x="1181096" y="3511652"/>
            <a:ext cx="7001583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BDEW-Energie-Inf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Seite </a:t>
            </a:r>
            <a:fld id="{74A13EAF-73A0-484F-BE08-F2D638D8396C}" type="slidenum">
              <a:rPr lang="de-DE" smtClean="0">
                <a:solidFill>
                  <a:srgbClr val="FFFFFF"/>
                </a:solidFill>
              </a:rPr>
              <a:pPr/>
              <a:t>6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18.02.2016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79512" y="1417638"/>
            <a:ext cx="2520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Wind </a:t>
            </a:r>
            <a:r>
              <a:rPr lang="de-DE" sz="1400" b="1" dirty="0" err="1"/>
              <a:t>Production</a:t>
            </a:r>
            <a:r>
              <a:rPr lang="de-DE" sz="1400" b="1" dirty="0"/>
              <a:t> in MW</a:t>
            </a:r>
            <a:endParaRPr lang="en-GB" sz="1400" b="1" dirty="0"/>
          </a:p>
        </p:txBody>
      </p:sp>
      <p:sp>
        <p:nvSpPr>
          <p:cNvPr id="15" name="Textfeld 14"/>
          <p:cNvSpPr txBox="1"/>
          <p:nvPr/>
        </p:nvSpPr>
        <p:spPr>
          <a:xfrm>
            <a:off x="7884367" y="1424624"/>
            <a:ext cx="1188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€ / MWh</a:t>
            </a:r>
            <a:endParaRPr lang="en-GB" sz="1400" b="1" dirty="0"/>
          </a:p>
        </p:txBody>
      </p:sp>
      <p:sp>
        <p:nvSpPr>
          <p:cNvPr id="16" name="Datumsplatzhalter 3"/>
          <p:cNvSpPr txBox="1">
            <a:spLocks/>
          </p:cNvSpPr>
          <p:nvPr/>
        </p:nvSpPr>
        <p:spPr>
          <a:xfrm>
            <a:off x="609600" y="63813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17" name="Fußzeilenplatzhalter 4"/>
          <p:cNvSpPr txBox="1">
            <a:spLocks/>
          </p:cNvSpPr>
          <p:nvPr/>
        </p:nvSpPr>
        <p:spPr>
          <a:xfrm>
            <a:off x="3276600" y="638132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18" name="Foliennummernplatzhalter 5"/>
          <p:cNvSpPr txBox="1">
            <a:spLocks/>
          </p:cNvSpPr>
          <p:nvPr/>
        </p:nvSpPr>
        <p:spPr>
          <a:xfrm>
            <a:off x="6705600" y="63813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E60773-1BD9-4896-8DB0-A31ED5DBFBE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48863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88133"/>
            <a:ext cx="8229600" cy="4549179"/>
          </a:xfrm>
        </p:spPr>
        <p:txBody>
          <a:bodyPr>
            <a:normAutofit/>
          </a:bodyPr>
          <a:lstStyle/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 err="1"/>
              <a:t>Wholesale</a:t>
            </a:r>
            <a:r>
              <a:rPr lang="de-DE" sz="1800" b="1" dirty="0"/>
              <a:t> </a:t>
            </a:r>
            <a:r>
              <a:rPr lang="de-DE" sz="1800" b="1" dirty="0" err="1"/>
              <a:t>price</a:t>
            </a:r>
            <a:r>
              <a:rPr lang="de-DE" sz="1800" b="1" dirty="0"/>
              <a:t> </a:t>
            </a:r>
            <a:r>
              <a:rPr lang="de-DE" sz="1800" dirty="0"/>
              <a:t>– </a:t>
            </a:r>
            <a:r>
              <a:rPr lang="de-DE" sz="1800" dirty="0" err="1"/>
              <a:t>set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SRMC </a:t>
            </a:r>
            <a:r>
              <a:rPr lang="de-DE" sz="1800" dirty="0" err="1"/>
              <a:t>weighed</a:t>
            </a:r>
            <a:r>
              <a:rPr lang="de-DE" sz="1800" dirty="0"/>
              <a:t> down </a:t>
            </a:r>
            <a:r>
              <a:rPr lang="de-DE" sz="1800" dirty="0" err="1"/>
              <a:t>by</a:t>
            </a:r>
            <a:r>
              <a:rPr lang="de-DE" sz="1800" dirty="0"/>
              <a:t> </a:t>
            </a:r>
            <a:r>
              <a:rPr lang="de-DE" sz="1800" dirty="0" err="1"/>
              <a:t>plants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zero</a:t>
            </a:r>
            <a:r>
              <a:rPr lang="de-DE" sz="1800" dirty="0"/>
              <a:t> SRMC </a:t>
            </a:r>
          </a:p>
          <a:p>
            <a:pPr lvl="1">
              <a:spcAft>
                <a:spcPts val="1800"/>
              </a:spcAft>
            </a:pPr>
            <a:r>
              <a:rPr lang="de-DE" sz="1800" dirty="0"/>
              <a:t>Unique </a:t>
            </a:r>
            <a:r>
              <a:rPr lang="de-DE" sz="1800" dirty="0" err="1"/>
              <a:t>featur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electricity</a:t>
            </a:r>
            <a:r>
              <a:rPr lang="de-DE" sz="1800" dirty="0"/>
              <a:t> </a:t>
            </a:r>
            <a:r>
              <a:rPr lang="de-DE" sz="1800" dirty="0" err="1"/>
              <a:t>markets</a:t>
            </a:r>
            <a:r>
              <a:rPr lang="de-DE" sz="1800" dirty="0"/>
              <a:t>: SRMC &lt;&lt; LRMC</a:t>
            </a:r>
          </a:p>
          <a:p>
            <a:pPr lvl="2">
              <a:spcAft>
                <a:spcPts val="1800"/>
              </a:spcAft>
            </a:pPr>
            <a:r>
              <a:rPr lang="de-DE" sz="1800" dirty="0" err="1"/>
              <a:t>Unless</a:t>
            </a:r>
            <a:r>
              <a:rPr lang="de-DE" sz="1800" dirty="0"/>
              <a:t> </a:t>
            </a:r>
            <a:r>
              <a:rPr lang="de-DE" sz="1800" dirty="0" err="1"/>
              <a:t>adequate</a:t>
            </a:r>
            <a:r>
              <a:rPr lang="de-DE" sz="1800" dirty="0"/>
              <a:t> </a:t>
            </a:r>
            <a:r>
              <a:rPr lang="de-DE" sz="1800" dirty="0" err="1"/>
              <a:t>infra</a:t>
            </a:r>
            <a:r>
              <a:rPr lang="de-DE" sz="1800" dirty="0"/>
              <a:t>-marginal </a:t>
            </a:r>
            <a:r>
              <a:rPr lang="de-DE" sz="1800" dirty="0" err="1"/>
              <a:t>rents</a:t>
            </a:r>
            <a:r>
              <a:rPr lang="de-DE" sz="1800" dirty="0"/>
              <a:t> and </a:t>
            </a:r>
            <a:r>
              <a:rPr lang="de-DE" sz="1800" dirty="0" err="1"/>
              <a:t>scarcity</a:t>
            </a:r>
            <a:r>
              <a:rPr lang="de-DE" sz="1800" dirty="0"/>
              <a:t> </a:t>
            </a:r>
            <a:r>
              <a:rPr lang="de-DE" sz="1800" dirty="0" err="1"/>
              <a:t>pricing</a:t>
            </a:r>
            <a:r>
              <a:rPr lang="de-DE" sz="1800" dirty="0"/>
              <a:t> </a:t>
            </a:r>
            <a:r>
              <a:rPr lang="de-DE" sz="1800" dirty="0" err="1"/>
              <a:t>achieved</a:t>
            </a:r>
            <a:r>
              <a:rPr lang="de-DE" sz="1800" dirty="0"/>
              <a:t> </a:t>
            </a:r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Consumer variable </a:t>
            </a:r>
            <a:r>
              <a:rPr lang="de-DE" sz="1800" b="1" dirty="0" err="1"/>
              <a:t>price</a:t>
            </a:r>
            <a:r>
              <a:rPr lang="de-DE" sz="1800" b="1" dirty="0"/>
              <a:t>  </a:t>
            </a:r>
            <a:r>
              <a:rPr lang="de-DE" sz="1800" dirty="0"/>
              <a:t>(</a:t>
            </a:r>
            <a:r>
              <a:rPr lang="de-DE" sz="1800" dirty="0" err="1"/>
              <a:t>excluding</a:t>
            </a:r>
            <a:r>
              <a:rPr lang="de-DE" sz="1800" dirty="0"/>
              <a:t> </a:t>
            </a:r>
            <a:r>
              <a:rPr lang="de-DE" sz="1800" dirty="0" err="1"/>
              <a:t>network</a:t>
            </a:r>
            <a:r>
              <a:rPr lang="de-DE" sz="1800" dirty="0"/>
              <a:t> and </a:t>
            </a:r>
            <a:r>
              <a:rPr lang="de-DE" sz="1800" dirty="0" err="1"/>
              <a:t>retail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)</a:t>
            </a:r>
          </a:p>
          <a:p>
            <a:pPr lvl="1">
              <a:spcAft>
                <a:spcPts val="1800"/>
              </a:spcAft>
            </a:pPr>
            <a:r>
              <a:rPr lang="de-DE" sz="1800" dirty="0" err="1"/>
              <a:t>Combination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wholesale</a:t>
            </a:r>
            <a:r>
              <a:rPr lang="de-DE" sz="1800" dirty="0"/>
              <a:t> </a:t>
            </a:r>
            <a:r>
              <a:rPr lang="de-DE" sz="1800" dirty="0" err="1"/>
              <a:t>prices</a:t>
            </a:r>
            <a:r>
              <a:rPr lang="de-DE" sz="1800" dirty="0"/>
              <a:t>, </a:t>
            </a:r>
            <a:r>
              <a:rPr lang="de-DE" sz="1800" dirty="0" err="1"/>
              <a:t>renewables</a:t>
            </a:r>
            <a:r>
              <a:rPr lang="de-DE" sz="1800" dirty="0"/>
              <a:t> </a:t>
            </a:r>
            <a:r>
              <a:rPr lang="de-DE" sz="1800" dirty="0" err="1"/>
              <a:t>subsidies</a:t>
            </a:r>
            <a:r>
              <a:rPr lang="de-DE" sz="1800" dirty="0"/>
              <a:t> and </a:t>
            </a:r>
            <a:r>
              <a:rPr lang="de-DE" sz="1800" dirty="0" err="1"/>
              <a:t>other</a:t>
            </a:r>
            <a:r>
              <a:rPr lang="de-DE" sz="1800" dirty="0"/>
              <a:t> </a:t>
            </a:r>
            <a:r>
              <a:rPr lang="de-DE" sz="1800" dirty="0" err="1"/>
              <a:t>taxes</a:t>
            </a:r>
            <a:endParaRPr lang="de-DE" sz="1800" dirty="0"/>
          </a:p>
          <a:p>
            <a:pPr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LCOE</a:t>
            </a:r>
            <a:r>
              <a:rPr lang="de-DE" sz="1800" dirty="0"/>
              <a:t> </a:t>
            </a:r>
            <a:r>
              <a:rPr lang="de-DE" sz="1800" dirty="0" err="1"/>
              <a:t>has</a:t>
            </a:r>
            <a:r>
              <a:rPr lang="de-DE" sz="1800" dirty="0"/>
              <a:t> </a:t>
            </a:r>
            <a:r>
              <a:rPr lang="de-DE" sz="1800" dirty="0" err="1"/>
              <a:t>very</a:t>
            </a:r>
            <a:r>
              <a:rPr lang="de-DE" sz="1800" dirty="0"/>
              <a:t> </a:t>
            </a:r>
            <a:r>
              <a:rPr lang="de-DE" sz="1800" dirty="0" err="1"/>
              <a:t>little</a:t>
            </a:r>
            <a:r>
              <a:rPr lang="de-DE" sz="1800" dirty="0"/>
              <a:t> </a:t>
            </a:r>
            <a:r>
              <a:rPr lang="de-DE" sz="1800" dirty="0" err="1"/>
              <a:t>short</a:t>
            </a:r>
            <a:r>
              <a:rPr lang="de-DE" sz="1800" dirty="0"/>
              <a:t>-term </a:t>
            </a:r>
            <a:r>
              <a:rPr lang="de-DE" sz="1800" dirty="0" err="1"/>
              <a:t>impact</a:t>
            </a:r>
            <a:r>
              <a:rPr lang="de-DE" sz="1800" dirty="0"/>
              <a:t> on </a:t>
            </a:r>
            <a:r>
              <a:rPr lang="de-DE" sz="1800" dirty="0" err="1"/>
              <a:t>wholesale</a:t>
            </a:r>
            <a:r>
              <a:rPr lang="de-DE" sz="1800" dirty="0"/>
              <a:t> / </a:t>
            </a:r>
            <a:r>
              <a:rPr lang="de-DE" sz="1800" dirty="0" err="1"/>
              <a:t>consumer</a:t>
            </a:r>
            <a:r>
              <a:rPr lang="de-DE" sz="1800" dirty="0"/>
              <a:t> </a:t>
            </a:r>
            <a:r>
              <a:rPr lang="de-DE" sz="1800" dirty="0" err="1"/>
              <a:t>prices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 err="1"/>
              <a:t>Consumers</a:t>
            </a:r>
            <a:r>
              <a:rPr lang="de-DE" sz="1800" dirty="0"/>
              <a:t> do not </a:t>
            </a:r>
            <a:r>
              <a:rPr lang="de-DE" sz="1800" dirty="0" err="1"/>
              <a:t>se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LCOE and </a:t>
            </a:r>
            <a:r>
              <a:rPr lang="de-DE" sz="1800" dirty="0" err="1"/>
              <a:t>cannot</a:t>
            </a:r>
            <a:r>
              <a:rPr lang="de-DE" sz="1800" dirty="0"/>
              <a:t> </a:t>
            </a:r>
            <a:r>
              <a:rPr lang="de-DE" sz="1800" dirty="0" err="1"/>
              <a:t>respond</a:t>
            </a:r>
            <a:r>
              <a:rPr lang="de-DE" sz="1800" dirty="0"/>
              <a:t> in classic </a:t>
            </a:r>
            <a:r>
              <a:rPr lang="de-DE" sz="1800" dirty="0" err="1"/>
              <a:t>manner</a:t>
            </a:r>
            <a:endParaRPr lang="de-DE" sz="1800" dirty="0"/>
          </a:p>
          <a:p>
            <a:pPr lvl="2">
              <a:spcAft>
                <a:spcPts val="1800"/>
              </a:spcAft>
            </a:pPr>
            <a:r>
              <a:rPr lang="de-DE" sz="1800" b="1" dirty="0" err="1"/>
              <a:t>Unless</a:t>
            </a:r>
            <a:r>
              <a:rPr lang="de-DE" sz="1800" b="1" dirty="0"/>
              <a:t> </a:t>
            </a:r>
            <a:r>
              <a:rPr lang="de-DE" sz="1800" b="1" dirty="0" err="1"/>
              <a:t>they</a:t>
            </a:r>
            <a:r>
              <a:rPr lang="de-DE" sz="1800" b="1" dirty="0"/>
              <a:t> </a:t>
            </a:r>
            <a:r>
              <a:rPr lang="de-DE" sz="1800" b="1" dirty="0" err="1"/>
              <a:t>contract</a:t>
            </a:r>
            <a:r>
              <a:rPr lang="de-DE" sz="1800" b="1" dirty="0"/>
              <a:t> </a:t>
            </a:r>
            <a:r>
              <a:rPr lang="de-DE" sz="1800" b="1" dirty="0" err="1"/>
              <a:t>with</a:t>
            </a:r>
            <a:r>
              <a:rPr lang="de-DE" sz="1800" b="1" dirty="0"/>
              <a:t> a PPA and </a:t>
            </a:r>
            <a:r>
              <a:rPr lang="de-DE" sz="1800" b="1" dirty="0" err="1"/>
              <a:t>by</a:t>
            </a:r>
            <a:r>
              <a:rPr lang="de-DE" sz="1800" b="1" dirty="0"/>
              <a:t>-pass </a:t>
            </a:r>
            <a:r>
              <a:rPr lang="de-DE" sz="1800" b="1" dirty="0" err="1"/>
              <a:t>the</a:t>
            </a:r>
            <a:r>
              <a:rPr lang="de-DE" sz="1800" b="1" dirty="0"/>
              <a:t> </a:t>
            </a:r>
            <a:r>
              <a:rPr lang="de-DE" sz="1800" b="1" dirty="0" err="1"/>
              <a:t>other</a:t>
            </a:r>
            <a:r>
              <a:rPr lang="de-DE" sz="1800" b="1" dirty="0"/>
              <a:t> </a:t>
            </a:r>
            <a:r>
              <a:rPr lang="de-DE" sz="1800" b="1" dirty="0" err="1"/>
              <a:t>markets</a:t>
            </a:r>
            <a:endParaRPr lang="de-DE" sz="1800" b="1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7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39136" cy="1143000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de-DE" dirty="0"/>
              <a:t>2. Short-term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COE's</a:t>
            </a:r>
            <a:r>
              <a:rPr lang="de-DE" dirty="0"/>
              <a:t>  - </a:t>
            </a:r>
            <a:r>
              <a:rPr lang="de-DE" dirty="0" err="1"/>
              <a:t>poor</a:t>
            </a:r>
            <a:r>
              <a:rPr lang="de-DE" dirty="0"/>
              <a:t> </a:t>
            </a:r>
            <a:r>
              <a:rPr lang="de-DE" dirty="0" err="1"/>
              <a:t>conne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holesale</a:t>
            </a:r>
            <a:r>
              <a:rPr lang="de-DE" dirty="0"/>
              <a:t>  / </a:t>
            </a:r>
            <a:r>
              <a:rPr lang="de-DE" dirty="0" err="1"/>
              <a:t>consumer</a:t>
            </a:r>
            <a:r>
              <a:rPr lang="de-DE" dirty="0"/>
              <a:t> </a:t>
            </a:r>
            <a:r>
              <a:rPr lang="de-DE" dirty="0" err="1"/>
              <a:t>prices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4328" y="15033"/>
            <a:ext cx="1609576" cy="160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102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47248" cy="1143000"/>
          </a:xfrm>
        </p:spPr>
        <p:txBody>
          <a:bodyPr/>
          <a:lstStyle/>
          <a:p>
            <a:r>
              <a:rPr lang="de-DE" dirty="0" err="1"/>
              <a:t>Indicative</a:t>
            </a:r>
            <a:r>
              <a:rPr lang="de-DE" dirty="0"/>
              <a:t> </a:t>
            </a:r>
            <a:r>
              <a:rPr lang="de-DE" dirty="0" err="1"/>
              <a:t>LCOE's</a:t>
            </a:r>
            <a:r>
              <a:rPr lang="de-DE" dirty="0"/>
              <a:t>, </a:t>
            </a:r>
            <a:r>
              <a:rPr lang="de-DE" dirty="0" err="1"/>
              <a:t>wholesale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and </a:t>
            </a:r>
            <a:r>
              <a:rPr lang="de-DE" dirty="0" err="1"/>
              <a:t>consumer</a:t>
            </a:r>
            <a:r>
              <a:rPr lang="de-DE" dirty="0"/>
              <a:t> </a:t>
            </a:r>
            <a:r>
              <a:rPr lang="de-DE" dirty="0" err="1"/>
              <a:t>prices</a:t>
            </a:r>
            <a:r>
              <a:rPr lang="de-DE" dirty="0"/>
              <a:t> for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element</a:t>
            </a:r>
            <a:r>
              <a:rPr lang="de-DE" dirty="0"/>
              <a:t> </a:t>
            </a:r>
            <a:r>
              <a:rPr lang="de-DE" dirty="0" err="1"/>
              <a:t>excluding</a:t>
            </a:r>
            <a:r>
              <a:rPr lang="de-DE" dirty="0"/>
              <a:t> pure </a:t>
            </a:r>
            <a:r>
              <a:rPr lang="de-DE" dirty="0" err="1"/>
              <a:t>taxes</a:t>
            </a:r>
            <a:r>
              <a:rPr lang="de-DE" dirty="0"/>
              <a:t>  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1115616" y="1700808"/>
            <a:ext cx="741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                     LCOE                                </a:t>
            </a:r>
            <a:r>
              <a:rPr lang="de-DE" b="1" dirty="0" err="1"/>
              <a:t>Wholesale</a:t>
            </a:r>
            <a:r>
              <a:rPr lang="de-DE" b="1" dirty="0"/>
              <a:t>              Consumer</a:t>
            </a:r>
            <a:endParaRPr lang="en-GB" b="1" dirty="0"/>
          </a:p>
        </p:txBody>
      </p:sp>
      <p:graphicFrame>
        <p:nvGraphicFramePr>
          <p:cNvPr id="10" name="Diagramm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734327"/>
              </p:ext>
            </p:extLst>
          </p:nvPr>
        </p:nvGraphicFramePr>
        <p:xfrm>
          <a:off x="323528" y="2353311"/>
          <a:ext cx="8280921" cy="359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827584" y="5949280"/>
            <a:ext cx="3600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Offshore wind </a:t>
            </a:r>
            <a:r>
              <a:rPr lang="de-DE" sz="1050" dirty="0" err="1"/>
              <a:t>costs</a:t>
            </a:r>
            <a:r>
              <a:rPr lang="de-DE" sz="1050" dirty="0"/>
              <a:t> </a:t>
            </a:r>
            <a:r>
              <a:rPr lang="de-DE" sz="1050" dirty="0" err="1"/>
              <a:t>include</a:t>
            </a:r>
            <a:r>
              <a:rPr lang="de-DE" sz="1050" dirty="0"/>
              <a:t> </a:t>
            </a:r>
            <a:r>
              <a:rPr lang="de-DE" sz="1050" dirty="0" err="1"/>
              <a:t>connections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shore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5580197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/>
              <a:t>Slow </a:t>
            </a:r>
            <a:r>
              <a:rPr lang="de-DE" dirty="0" err="1"/>
              <a:t>impac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ducing</a:t>
            </a:r>
            <a:r>
              <a:rPr lang="de-DE" dirty="0"/>
              <a:t> LCOEs in </a:t>
            </a:r>
            <a:r>
              <a:rPr lang="de-DE" dirty="0" err="1"/>
              <a:t>current</a:t>
            </a:r>
            <a:r>
              <a:rPr lang="de-DE" dirty="0"/>
              <a:t> system – high </a:t>
            </a:r>
            <a:r>
              <a:rPr lang="de-DE" dirty="0" err="1"/>
              <a:t>lega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newables</a:t>
            </a:r>
            <a:r>
              <a:rPr lang="de-DE" dirty="0"/>
              <a:t> </a:t>
            </a:r>
            <a:r>
              <a:rPr lang="de-DE" dirty="0" err="1"/>
              <a:t>cost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1800" dirty="0" err="1"/>
              <a:t>Reductions</a:t>
            </a:r>
            <a:r>
              <a:rPr lang="de-DE" sz="1800" dirty="0"/>
              <a:t> in LCOEs (</a:t>
            </a:r>
            <a:r>
              <a:rPr lang="de-DE" sz="1800" dirty="0" err="1"/>
              <a:t>of</a:t>
            </a:r>
            <a:r>
              <a:rPr lang="de-DE" sz="1800" dirty="0"/>
              <a:t> individual </a:t>
            </a:r>
            <a:r>
              <a:rPr lang="de-DE" sz="1800" dirty="0" err="1"/>
              <a:t>technologies</a:t>
            </a:r>
            <a:r>
              <a:rPr lang="de-DE" sz="1800" dirty="0"/>
              <a:t> and RES </a:t>
            </a:r>
            <a:r>
              <a:rPr lang="de-DE" sz="1800" dirty="0" err="1"/>
              <a:t>overall</a:t>
            </a:r>
            <a:r>
              <a:rPr lang="de-DE" sz="1800" dirty="0"/>
              <a:t>) </a:t>
            </a:r>
            <a:r>
              <a:rPr lang="de-DE" sz="1800" dirty="0" err="1"/>
              <a:t>only</a:t>
            </a:r>
            <a:r>
              <a:rPr lang="de-DE" sz="1800" dirty="0"/>
              <a:t> </a:t>
            </a:r>
            <a:r>
              <a:rPr lang="de-DE" sz="1800" dirty="0" err="1"/>
              <a:t>fe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ice</a:t>
            </a:r>
            <a:r>
              <a:rPr lang="de-DE" sz="1800" dirty="0"/>
              <a:t> system </a:t>
            </a:r>
            <a:r>
              <a:rPr lang="de-DE" sz="1800" dirty="0" err="1"/>
              <a:t>very</a:t>
            </a:r>
            <a:r>
              <a:rPr lang="de-DE" sz="1800" dirty="0"/>
              <a:t> </a:t>
            </a:r>
            <a:r>
              <a:rPr lang="de-DE" sz="1800" dirty="0" err="1"/>
              <a:t>slowly</a:t>
            </a:r>
            <a:endParaRPr lang="de-DE" sz="1800" dirty="0"/>
          </a:p>
          <a:p>
            <a:pPr lvl="1"/>
            <a:r>
              <a:rPr lang="de-DE" sz="1800" dirty="0" err="1"/>
              <a:t>Tipp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„tank“ </a:t>
            </a:r>
            <a:r>
              <a:rPr lang="de-DE" sz="1800" dirty="0" err="1"/>
              <a:t>of</a:t>
            </a:r>
            <a:r>
              <a:rPr lang="de-DE" sz="1800" dirty="0"/>
              <a:t> all </a:t>
            </a:r>
            <a:r>
              <a:rPr lang="de-DE" sz="1800" dirty="0" err="1"/>
              <a:t>renewables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ha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amortised</a:t>
            </a:r>
            <a:r>
              <a:rPr lang="de-DE" sz="1800" dirty="0"/>
              <a:t> </a:t>
            </a:r>
            <a:r>
              <a:rPr lang="de-DE" sz="1800" dirty="0" err="1"/>
              <a:t>over</a:t>
            </a:r>
            <a:r>
              <a:rPr lang="de-DE" sz="1800" dirty="0"/>
              <a:t> </a:t>
            </a:r>
            <a:r>
              <a:rPr lang="de-DE" sz="1800" dirty="0" err="1"/>
              <a:t>next</a:t>
            </a:r>
            <a:r>
              <a:rPr lang="de-DE" sz="1800" dirty="0"/>
              <a:t> 20 </a:t>
            </a:r>
            <a:r>
              <a:rPr lang="de-DE" sz="1800" dirty="0" err="1"/>
              <a:t>years</a:t>
            </a:r>
            <a:r>
              <a:rPr lang="de-DE" sz="1800" dirty="0"/>
              <a:t>. </a:t>
            </a:r>
            <a:r>
              <a:rPr lang="de-DE" sz="1800" dirty="0" err="1"/>
              <a:t>Example</a:t>
            </a:r>
            <a:r>
              <a:rPr lang="de-DE" sz="1800" dirty="0"/>
              <a:t> - Germany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Prof. Graham Wea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ind Europe Summit 2016 - LCOEs in the Context of EU Energy Markets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60773-1BD9-4896-8DB0-A31ED5DBFBE5}" type="slidenum">
              <a:rPr lang="de-DE" smtClean="0"/>
              <a:t>9</a:t>
            </a:fld>
            <a:endParaRPr lang="de-DE"/>
          </a:p>
        </p:txBody>
      </p:sp>
      <p:graphicFrame>
        <p:nvGraphicFramePr>
          <p:cNvPr id="7" name="Diagramm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142669"/>
              </p:ext>
            </p:extLst>
          </p:nvPr>
        </p:nvGraphicFramePr>
        <p:xfrm>
          <a:off x="827584" y="3068960"/>
          <a:ext cx="7488832" cy="3057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8718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xcOts_EEyYE1qipaxM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2677;42.5;42.51968;56.69291;"/>
  <p:tag name="VCT-BULLETVISIBILITY" val="G 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.03.2011 10:17:53"/>
  <p:tag name="VCT-TEMPLATE" val="RWE_Consulting_Vorlage_2011_ENG.potx"/>
  <p:tag name="VCTMASTER" val="Master English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586"/>
  <p:tag name="MIO_UPDATE" val="True"/>
  <p:tag name="MIO_VERSION" val="29.02.2012 15:48:19"/>
  <p:tag name="MIO_DBID" val="37751D66-DF7D-4C12-856E-3927FA00E85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xcOts_EEyYE1qipaxM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2677;42.5;42.51968;56.69291;"/>
  <p:tag name="VCT-BULLETVISIBILITY" val="G ***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.03.2011 10:17:53"/>
  <p:tag name="VCT-TEMPLATE" val="RWE_Consulting_Vorlage_2011_ENG.potx"/>
  <p:tag name="VCTMASTER" val="Master English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586"/>
  <p:tag name="MIO_UPDATE" val="True"/>
  <p:tag name="MIO_VERSION" val="29.02.2012 15:48:19"/>
  <p:tag name="MIO_DBID" val="37751D66-DF7D-4C12-856E-3927FA00E853"/>
</p:tagLst>
</file>

<file path=ppt/theme/theme1.xml><?xml version="1.0" encoding="utf-8"?>
<a:theme xmlns:a="http://schemas.openxmlformats.org/drawingml/2006/main" name="blan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Te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WE_Presentation_EN_4to3">
  <a:themeElements>
    <a:clrScheme name="RWE 2012-02-02">
      <a:dk1>
        <a:sysClr val="windowText" lastClr="000000"/>
      </a:dk1>
      <a:lt1>
        <a:sysClr val="window" lastClr="FFFFFF"/>
      </a:lt1>
      <a:dk2>
        <a:srgbClr val="8DCEED"/>
      </a:dk2>
      <a:lt2>
        <a:srgbClr val="FFDD00"/>
      </a:lt2>
      <a:accent1>
        <a:srgbClr val="0066AA"/>
      </a:accent1>
      <a:accent2>
        <a:srgbClr val="F49E00"/>
      </a:accent2>
      <a:accent3>
        <a:srgbClr val="89BA17"/>
      </a:accent3>
      <a:accent4>
        <a:srgbClr val="009932"/>
      </a:accent4>
      <a:accent5>
        <a:srgbClr val="E2001A"/>
      </a:accent5>
      <a:accent6>
        <a:srgbClr val="9D0D15"/>
      </a:accent6>
      <a:hlink>
        <a:srgbClr val="0000FF"/>
      </a:hlink>
      <a:folHlink>
        <a:srgbClr val="80008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266700" marR="0" indent="-26670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34" charset="0"/>
          <a:buChar char="&gt;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23" charset="0"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lnDef>
    <a:txDef>
      <a:spPr>
        <a:noFill/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20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ter English">
  <a:themeElements>
    <a:clrScheme name="RWE Consulting">
      <a:dk1>
        <a:sysClr val="windowText" lastClr="000000"/>
      </a:dk1>
      <a:lt1>
        <a:sysClr val="window" lastClr="FFFFFF"/>
      </a:lt1>
      <a:dk2>
        <a:srgbClr val="0050A6"/>
      </a:dk2>
      <a:lt2>
        <a:srgbClr val="FC5104"/>
      </a:lt2>
      <a:accent1>
        <a:srgbClr val="6695C8"/>
      </a:accent1>
      <a:accent2>
        <a:srgbClr val="99B8D9"/>
      </a:accent2>
      <a:accent3>
        <a:srgbClr val="CCDAEA"/>
      </a:accent3>
      <a:accent4>
        <a:srgbClr val="E5EDF5"/>
      </a:accent4>
      <a:accent5>
        <a:srgbClr val="777777"/>
      </a:accent5>
      <a:accent6>
        <a:srgbClr val="B2B2B2"/>
      </a:accent6>
      <a:hlink>
        <a:srgbClr val="CCDAEA"/>
      </a:hlink>
      <a:folHlink>
        <a:srgbClr val="E5EDF5"/>
      </a:folHlink>
    </a:clrScheme>
    <a:fontScheme name="RWE Consult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2"/>
          </a:solidFill>
        </a:ln>
      </a:spPr>
      <a:bodyPr rtlCol="0" anchor="ctr"/>
      <a:lstStyle>
        <a:defPPr algn="ctr">
          <a:buClr>
            <a:schemeClr val="tx2"/>
          </a:buClr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1_RWE_Presentation_EN_4to3">
  <a:themeElements>
    <a:clrScheme name="RWE 2012-02-02">
      <a:dk1>
        <a:sysClr val="windowText" lastClr="000000"/>
      </a:dk1>
      <a:lt1>
        <a:sysClr val="window" lastClr="FFFFFF"/>
      </a:lt1>
      <a:dk2>
        <a:srgbClr val="8DCEED"/>
      </a:dk2>
      <a:lt2>
        <a:srgbClr val="FFDD00"/>
      </a:lt2>
      <a:accent1>
        <a:srgbClr val="0066AA"/>
      </a:accent1>
      <a:accent2>
        <a:srgbClr val="F49E00"/>
      </a:accent2>
      <a:accent3>
        <a:srgbClr val="89BA17"/>
      </a:accent3>
      <a:accent4>
        <a:srgbClr val="009932"/>
      </a:accent4>
      <a:accent5>
        <a:srgbClr val="E2001A"/>
      </a:accent5>
      <a:accent6>
        <a:srgbClr val="9D0D15"/>
      </a:accent6>
      <a:hlink>
        <a:srgbClr val="0000FF"/>
      </a:hlink>
      <a:folHlink>
        <a:srgbClr val="80008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266700" marR="0" indent="-26670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34" charset="0"/>
          <a:buChar char="&gt;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23" charset="0"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lnDef>
    <a:txDef>
      <a:spPr>
        <a:noFill/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20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Master English">
  <a:themeElements>
    <a:clrScheme name="RWE Consulting">
      <a:dk1>
        <a:sysClr val="windowText" lastClr="000000"/>
      </a:dk1>
      <a:lt1>
        <a:sysClr val="window" lastClr="FFFFFF"/>
      </a:lt1>
      <a:dk2>
        <a:srgbClr val="0050A6"/>
      </a:dk2>
      <a:lt2>
        <a:srgbClr val="FC5104"/>
      </a:lt2>
      <a:accent1>
        <a:srgbClr val="6695C8"/>
      </a:accent1>
      <a:accent2>
        <a:srgbClr val="99B8D9"/>
      </a:accent2>
      <a:accent3>
        <a:srgbClr val="CCDAEA"/>
      </a:accent3>
      <a:accent4>
        <a:srgbClr val="E5EDF5"/>
      </a:accent4>
      <a:accent5>
        <a:srgbClr val="777777"/>
      </a:accent5>
      <a:accent6>
        <a:srgbClr val="B2B2B2"/>
      </a:accent6>
      <a:hlink>
        <a:srgbClr val="CCDAEA"/>
      </a:hlink>
      <a:folHlink>
        <a:srgbClr val="E5EDF5"/>
      </a:folHlink>
    </a:clrScheme>
    <a:fontScheme name="RWE Consult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2"/>
          </a:solidFill>
        </a:ln>
      </a:spPr>
      <a:bodyPr rtlCol="0" anchor="ctr"/>
      <a:lstStyle>
        <a:defPPr algn="ctr">
          <a:buClr>
            <a:schemeClr val="tx2"/>
          </a:buClr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5</Words>
  <Application>Microsoft Office PowerPoint</Application>
  <PresentationFormat>Bildschirmpräsentation (4:3)</PresentationFormat>
  <Paragraphs>127</Paragraphs>
  <Slides>1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 Unicode MS</vt:lpstr>
      <vt:lpstr>ＭＳ Ｐゴシック</vt:lpstr>
      <vt:lpstr>Arial</vt:lpstr>
      <vt:lpstr>Calibri</vt:lpstr>
      <vt:lpstr>Wingdings</vt:lpstr>
      <vt:lpstr>blank</vt:lpstr>
      <vt:lpstr>RWE_Presentation_EN_4to3</vt:lpstr>
      <vt:lpstr>Master English</vt:lpstr>
      <vt:lpstr>1_RWE_Presentation_EN_4to3</vt:lpstr>
      <vt:lpstr>1_Master English</vt:lpstr>
      <vt:lpstr>think-cell Folie</vt:lpstr>
      <vt:lpstr>Relevance of LCOEs for Energy Markets – today and in the future</vt:lpstr>
      <vt:lpstr>Agenda</vt:lpstr>
      <vt:lpstr>1. Who uses LCOE and how?</vt:lpstr>
      <vt:lpstr>Example from Germany (2014): LCOEs used to plan future average RES costs - aim of €12cts/kWh</vt:lpstr>
      <vt:lpstr>LCOE's and their limitations</vt:lpstr>
      <vt:lpstr>Impact of wind energy on the spot price (DE, 2015) - increases disconnect between value and LCOE</vt:lpstr>
      <vt:lpstr>2. Short-term relevance of LCOE's  - poor connection to wholesale  / consumer prices</vt:lpstr>
      <vt:lpstr>Indicative LCOE's, wholesale price and consumer prices for energy element excluding pure taxes  </vt:lpstr>
      <vt:lpstr>Slow impact of reducing LCOEs in current system – high legacy of renewables costs</vt:lpstr>
      <vt:lpstr>3. Longer-term relevance of LCOEs</vt:lpstr>
      <vt:lpstr>LCOEs for different forms of energy – must look beyond electricity!</vt:lpstr>
      <vt:lpstr>4. Will LCOEs continue to be the key metric?</vt:lpstr>
      <vt:lpstr>PowerPoint-Präsentation</vt:lpstr>
    </vt:vector>
  </TitlesOfParts>
  <Company>RW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ale, Graham</dc:creator>
  <cp:lastModifiedBy>Graham Weale</cp:lastModifiedBy>
  <cp:revision>413</cp:revision>
  <cp:lastPrinted>2016-09-02T07:23:05Z</cp:lastPrinted>
  <dcterms:created xsi:type="dcterms:W3CDTF">2016-02-23T12:10:57Z</dcterms:created>
  <dcterms:modified xsi:type="dcterms:W3CDTF">2016-09-28T20:37:49Z</dcterms:modified>
</cp:coreProperties>
</file>